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heme/themeOverride1.xml" ContentType="application/vnd.openxmlformats-officedocument.themeOverride+xml"/>
  <Override PartName="/ppt/tags/tag14.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Lst>
  <p:notesMasterIdLst>
    <p:notesMasterId r:id="rId18"/>
  </p:notesMasterIdLst>
  <p:handoutMasterIdLst>
    <p:handoutMasterId r:id="rId19"/>
  </p:handoutMasterIdLst>
  <p:sldIdLst>
    <p:sldId id="3844" r:id="rId5"/>
    <p:sldId id="3880" r:id="rId6"/>
    <p:sldId id="3881" r:id="rId7"/>
    <p:sldId id="3917" r:id="rId8"/>
    <p:sldId id="3918" r:id="rId9"/>
    <p:sldId id="3919" r:id="rId10"/>
    <p:sldId id="3886" r:id="rId11"/>
    <p:sldId id="3883" r:id="rId12"/>
    <p:sldId id="3921" r:id="rId13"/>
    <p:sldId id="3871" r:id="rId14"/>
    <p:sldId id="3872" r:id="rId15"/>
    <p:sldId id="3874" r:id="rId16"/>
    <p:sldId id="3876" r:id="rId17"/>
  </p:sldIdLst>
  <p:sldSz cx="9906000" cy="6858000" type="A4"/>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0">
          <p15:clr>
            <a:srgbClr val="A4A3A4"/>
          </p15:clr>
        </p15:guide>
        <p15:guide id="2" orient="horz" pos="981" userDrawn="1">
          <p15:clr>
            <a:srgbClr val="A4A3A4"/>
          </p15:clr>
        </p15:guide>
        <p15:guide id="3" orient="horz" pos="1298" userDrawn="1">
          <p15:clr>
            <a:srgbClr val="A4A3A4"/>
          </p15:clr>
        </p15:guide>
        <p15:guide id="4" pos="243">
          <p15:clr>
            <a:srgbClr val="A4A3A4"/>
          </p15:clr>
        </p15:guide>
        <p15:guide id="5" pos="6006">
          <p15:clr>
            <a:srgbClr val="A4A3A4"/>
          </p15:clr>
        </p15:guide>
        <p15:guide id="6" pos="3120">
          <p15:clr>
            <a:srgbClr val="A4A3A4"/>
          </p15:clr>
        </p15:guide>
        <p15:guide id="7" pos="171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33273"/>
    <a:srgbClr val="F96F07"/>
    <a:srgbClr val="67BB6E"/>
    <a:srgbClr val="FFE281"/>
    <a:srgbClr val="BFBFBF"/>
    <a:srgbClr val="404040"/>
    <a:srgbClr val="E5E5E5"/>
    <a:srgbClr val="CD0032"/>
    <a:srgbClr val="B3B3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0000AE-C5A5-F9DA-27D0-FD7BB2337C8B}" v="7" dt="2026-04-09T00:49:44.968"/>
    <p1510:client id="{B726DA17-8E86-C650-A5AE-6FCC34B3463C}" v="11" dt="2026-04-08T08:53:00.392"/>
    <p1510:client id="{F8E55A81-75D8-7D17-2AEE-B1C58D9651BB}" v="494" dt="2026-04-08T07:17:14.25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67"/>
    <p:restoredTop sz="94583"/>
  </p:normalViewPr>
  <p:slideViewPr>
    <p:cSldViewPr snapToGrid="0">
      <p:cViewPr varScale="1">
        <p:scale>
          <a:sx n="118" d="100"/>
          <a:sy n="118" d="100"/>
        </p:scale>
        <p:origin x="680" y="200"/>
      </p:cViewPr>
      <p:guideLst>
        <p:guide orient="horz" pos="3940"/>
        <p:guide orient="horz" pos="981"/>
        <p:guide orient="horz" pos="1298"/>
        <p:guide pos="243"/>
        <p:guide pos="6006"/>
        <p:guide pos="3120"/>
        <p:guide pos="171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bota Nichika" userId="S::kubota.n@lefixea.com::8fb0ef68-18aa-4d1b-b018-3b48622e93e2" providerId="AD" clId="Web-{B726DA17-8E86-C650-A5AE-6FCC34B3463C}"/>
    <pc:docChg chg="modSld">
      <pc:chgData name="Kubota Nichika" userId="S::kubota.n@lefixea.com::8fb0ef68-18aa-4d1b-b018-3b48622e93e2" providerId="AD" clId="Web-{B726DA17-8E86-C650-A5AE-6FCC34B3463C}" dt="2026-04-08T08:52:59.861" v="6" actId="20577"/>
      <pc:docMkLst>
        <pc:docMk/>
      </pc:docMkLst>
      <pc:sldChg chg="modSp">
        <pc:chgData name="Kubota Nichika" userId="S::kubota.n@lefixea.com::8fb0ef68-18aa-4d1b-b018-3b48622e93e2" providerId="AD" clId="Web-{B726DA17-8E86-C650-A5AE-6FCC34B3463C}" dt="2026-04-08T08:52:59.861" v="6" actId="20577"/>
        <pc:sldMkLst>
          <pc:docMk/>
          <pc:sldMk cId="222103963" sldId="3919"/>
        </pc:sldMkLst>
        <pc:spChg chg="mod">
          <ac:chgData name="Kubota Nichika" userId="S::kubota.n@lefixea.com::8fb0ef68-18aa-4d1b-b018-3b48622e93e2" providerId="AD" clId="Web-{B726DA17-8E86-C650-A5AE-6FCC34B3463C}" dt="2026-04-08T08:52:59.861" v="6" actId="20577"/>
          <ac:spMkLst>
            <pc:docMk/>
            <pc:sldMk cId="222103963" sldId="3919"/>
            <ac:spMk id="46" creationId="{CB21EFE0-43A4-6E95-EBBB-D784B1C79DFF}"/>
          </ac:spMkLst>
        </pc:spChg>
      </pc:sldChg>
    </pc:docChg>
  </pc:docChgLst>
  <pc:docChgLst>
    <pc:chgData name="Kubota Nichika" userId="S::kubota.n@lefixea.com::8fb0ef68-18aa-4d1b-b018-3b48622e93e2" providerId="AD" clId="Web-{880000AE-C5A5-F9DA-27D0-FD7BB2337C8B}"/>
    <pc:docChg chg="modSld">
      <pc:chgData name="Kubota Nichika" userId="S::kubota.n@lefixea.com::8fb0ef68-18aa-4d1b-b018-3b48622e93e2" providerId="AD" clId="Web-{880000AE-C5A5-F9DA-27D0-FD7BB2337C8B}" dt="2026-04-09T00:49:44.968" v="5" actId="1076"/>
      <pc:docMkLst>
        <pc:docMk/>
      </pc:docMkLst>
      <pc:sldChg chg="addSp modSp">
        <pc:chgData name="Kubota Nichika" userId="S::kubota.n@lefixea.com::8fb0ef68-18aa-4d1b-b018-3b48622e93e2" providerId="AD" clId="Web-{880000AE-C5A5-F9DA-27D0-FD7BB2337C8B}" dt="2026-04-09T00:49:44.968" v="5" actId="1076"/>
        <pc:sldMkLst>
          <pc:docMk/>
          <pc:sldMk cId="2819633542" sldId="3844"/>
        </pc:sldMkLst>
        <pc:spChg chg="add mod">
          <ac:chgData name="Kubota Nichika" userId="S::kubota.n@lefixea.com::8fb0ef68-18aa-4d1b-b018-3b48622e93e2" providerId="AD" clId="Web-{880000AE-C5A5-F9DA-27D0-FD7BB2337C8B}" dt="2026-04-09T00:49:44.968" v="5" actId="1076"/>
          <ac:spMkLst>
            <pc:docMk/>
            <pc:sldMk cId="2819633542" sldId="3844"/>
            <ac:spMk id="5" creationId="{13D757CF-D9CC-2FED-41CD-6280A18E9D91}"/>
          </ac:spMkLst>
        </pc:spChg>
        <pc:picChg chg="add">
          <ac:chgData name="Kubota Nichika" userId="S::kubota.n@lefixea.com::8fb0ef68-18aa-4d1b-b018-3b48622e93e2" providerId="AD" clId="Web-{880000AE-C5A5-F9DA-27D0-FD7BB2337C8B}" dt="2026-04-09T00:49:38.952" v="0"/>
          <ac:picMkLst>
            <pc:docMk/>
            <pc:sldMk cId="2819633542" sldId="3844"/>
            <ac:picMk id="3" creationId="{96F57ED9-318E-B001-D5CA-908C41CE347A}"/>
          </ac:picMkLst>
        </pc:picChg>
      </pc:sldChg>
    </pc:docChg>
  </pc:docChgLst>
  <pc:docChgLst>
    <pc:chgData name="Matsubara Tomoaki" userId="ef143bb3-7e06-476c-90cc-89a444f71210" providerId="ADAL" clId="{A544731A-1D18-58F3-B398-43D663FCF7AC}"/>
    <pc:docChg chg="undo custSel addSld delSld modSld sldOrd">
      <pc:chgData name="Matsubara Tomoaki" userId="ef143bb3-7e06-476c-90cc-89a444f71210" providerId="ADAL" clId="{A544731A-1D18-58F3-B398-43D663FCF7AC}" dt="2026-04-03T11:00:01.552" v="2442" actId="404"/>
      <pc:docMkLst>
        <pc:docMk/>
      </pc:docMkLst>
      <pc:sldChg chg="addSp delSp modSp mod">
        <pc:chgData name="Matsubara Tomoaki" userId="ef143bb3-7e06-476c-90cc-89a444f71210" providerId="ADAL" clId="{A544731A-1D18-58F3-B398-43D663FCF7AC}" dt="2026-04-02T11:01:40.697" v="2038" actId="20577"/>
        <pc:sldMkLst>
          <pc:docMk/>
          <pc:sldMk cId="2819633542" sldId="3844"/>
        </pc:sldMkLst>
        <pc:spChg chg="mod">
          <ac:chgData name="Matsubara Tomoaki" userId="ef143bb3-7e06-476c-90cc-89a444f71210" providerId="ADAL" clId="{A544731A-1D18-58F3-B398-43D663FCF7AC}" dt="2026-04-02T11:01:40.697" v="2038" actId="20577"/>
          <ac:spMkLst>
            <pc:docMk/>
            <pc:sldMk cId="2819633542" sldId="3844"/>
            <ac:spMk id="2" creationId="{68BB6C06-41F5-7E51-0BBE-25B47B2E13B6}"/>
          </ac:spMkLst>
        </pc:spChg>
      </pc:sldChg>
      <pc:sldChg chg="modSp mod">
        <pc:chgData name="Matsubara Tomoaki" userId="ef143bb3-7e06-476c-90cc-89a444f71210" providerId="ADAL" clId="{A544731A-1D18-58F3-B398-43D663FCF7AC}" dt="2026-04-03T10:59:16.868" v="2431" actId="404"/>
        <pc:sldMkLst>
          <pc:docMk/>
          <pc:sldMk cId="817774986" sldId="3871"/>
        </pc:sldMkLst>
        <pc:spChg chg="mod">
          <ac:chgData name="Matsubara Tomoaki" userId="ef143bb3-7e06-476c-90cc-89a444f71210" providerId="ADAL" clId="{A544731A-1D18-58F3-B398-43D663FCF7AC}" dt="2026-04-02T10:19:20.671" v="330" actId="20577"/>
          <ac:spMkLst>
            <pc:docMk/>
            <pc:sldMk cId="817774986" sldId="3871"/>
            <ac:spMk id="5" creationId="{0D08F3B0-F07F-07B1-9E91-079097711D2D}"/>
          </ac:spMkLst>
        </pc:spChg>
        <pc:spChg chg="mod">
          <ac:chgData name="Matsubara Tomoaki" userId="ef143bb3-7e06-476c-90cc-89a444f71210" providerId="ADAL" clId="{A544731A-1D18-58F3-B398-43D663FCF7AC}" dt="2026-04-03T10:59:16.868" v="2431" actId="404"/>
          <ac:spMkLst>
            <pc:docMk/>
            <pc:sldMk cId="817774986" sldId="3871"/>
            <ac:spMk id="15" creationId="{17DC2650-FB29-0EB7-6D2B-5246EDCBE054}"/>
          </ac:spMkLst>
        </pc:spChg>
        <pc:spChg chg="mod">
          <ac:chgData name="Matsubara Tomoaki" userId="ef143bb3-7e06-476c-90cc-89a444f71210" providerId="ADAL" clId="{A544731A-1D18-58F3-B398-43D663FCF7AC}" dt="2026-04-03T10:59:12.969" v="2430" actId="403"/>
          <ac:spMkLst>
            <pc:docMk/>
            <pc:sldMk cId="817774986" sldId="3871"/>
            <ac:spMk id="17" creationId="{F6369193-C573-2C2F-3025-E84F9F55C206}"/>
          </ac:spMkLst>
        </pc:spChg>
        <pc:spChg chg="mod">
          <ac:chgData name="Matsubara Tomoaki" userId="ef143bb3-7e06-476c-90cc-89a444f71210" providerId="ADAL" clId="{A544731A-1D18-58F3-B398-43D663FCF7AC}" dt="2026-04-02T10:20:08.655" v="375" actId="20577"/>
          <ac:spMkLst>
            <pc:docMk/>
            <pc:sldMk cId="817774986" sldId="3871"/>
            <ac:spMk id="20" creationId="{5AB23975-38D1-2211-7A16-A1E5B8BC1E57}"/>
          </ac:spMkLst>
        </pc:spChg>
        <pc:spChg chg="mod">
          <ac:chgData name="Matsubara Tomoaki" userId="ef143bb3-7e06-476c-90cc-89a444f71210" providerId="ADAL" clId="{A544731A-1D18-58F3-B398-43D663FCF7AC}" dt="2026-04-02T10:18:15.632" v="322" actId="20577"/>
          <ac:spMkLst>
            <pc:docMk/>
            <pc:sldMk cId="817774986" sldId="3871"/>
            <ac:spMk id="46" creationId="{4468475E-7A65-95D0-CE32-9C2F5BED2831}"/>
          </ac:spMkLst>
        </pc:spChg>
      </pc:sldChg>
      <pc:sldChg chg="modSp mod">
        <pc:chgData name="Matsubara Tomoaki" userId="ef143bb3-7e06-476c-90cc-89a444f71210" providerId="ADAL" clId="{A544731A-1D18-58F3-B398-43D663FCF7AC}" dt="2026-04-03T10:59:34.970" v="2436" actId="14100"/>
        <pc:sldMkLst>
          <pc:docMk/>
          <pc:sldMk cId="1978358196" sldId="3872"/>
        </pc:sldMkLst>
        <pc:spChg chg="mod">
          <ac:chgData name="Matsubara Tomoaki" userId="ef143bb3-7e06-476c-90cc-89a444f71210" providerId="ADAL" clId="{A544731A-1D18-58F3-B398-43D663FCF7AC}" dt="2026-04-03T10:59:28.171" v="2433" actId="404"/>
          <ac:spMkLst>
            <pc:docMk/>
            <pc:sldMk cId="1978358196" sldId="3872"/>
            <ac:spMk id="10" creationId="{D7DAADAE-B431-002F-224A-57A71AC5F245}"/>
          </ac:spMkLst>
        </pc:spChg>
        <pc:spChg chg="mod">
          <ac:chgData name="Matsubara Tomoaki" userId="ef143bb3-7e06-476c-90cc-89a444f71210" providerId="ADAL" clId="{A544731A-1D18-58F3-B398-43D663FCF7AC}" dt="2026-04-03T10:59:34.970" v="2436" actId="14100"/>
          <ac:spMkLst>
            <pc:docMk/>
            <pc:sldMk cId="1978358196" sldId="3872"/>
            <ac:spMk id="12" creationId="{2FB6C94C-486A-B015-D938-EB384DD5C52F}"/>
          </ac:spMkLst>
        </pc:spChg>
        <pc:spChg chg="mod">
          <ac:chgData name="Matsubara Tomoaki" userId="ef143bb3-7e06-476c-90cc-89a444f71210" providerId="ADAL" clId="{A544731A-1D18-58F3-B398-43D663FCF7AC}" dt="2026-04-03T10:59:25.118" v="2432" actId="404"/>
          <ac:spMkLst>
            <pc:docMk/>
            <pc:sldMk cId="1978358196" sldId="3872"/>
            <ac:spMk id="13" creationId="{DC4F7163-63BB-20E1-7AB1-93E1D1418CF4}"/>
          </ac:spMkLst>
        </pc:spChg>
        <pc:spChg chg="mod">
          <ac:chgData name="Matsubara Tomoaki" userId="ef143bb3-7e06-476c-90cc-89a444f71210" providerId="ADAL" clId="{A544731A-1D18-58F3-B398-43D663FCF7AC}" dt="2026-04-02T10:20:03.319" v="362" actId="20577"/>
          <ac:spMkLst>
            <pc:docMk/>
            <pc:sldMk cId="1978358196" sldId="3872"/>
            <ac:spMk id="20" creationId="{5AB23975-38D1-2211-7A16-A1E5B8BC1E57}"/>
          </ac:spMkLst>
        </pc:spChg>
        <pc:spChg chg="mod">
          <ac:chgData name="Matsubara Tomoaki" userId="ef143bb3-7e06-476c-90cc-89a444f71210" providerId="ADAL" clId="{A544731A-1D18-58F3-B398-43D663FCF7AC}" dt="2026-04-02T10:19:50.294" v="335" actId="20577"/>
          <ac:spMkLst>
            <pc:docMk/>
            <pc:sldMk cId="1978358196" sldId="3872"/>
            <ac:spMk id="46" creationId="{4468475E-7A65-95D0-CE32-9C2F5BED2831}"/>
          </ac:spMkLst>
        </pc:spChg>
        <pc:cxnChg chg="mod">
          <ac:chgData name="Matsubara Tomoaki" userId="ef143bb3-7e06-476c-90cc-89a444f71210" providerId="ADAL" clId="{A544731A-1D18-58F3-B398-43D663FCF7AC}" dt="2026-04-03T10:59:34.970" v="2436" actId="14100"/>
          <ac:cxnSpMkLst>
            <pc:docMk/>
            <pc:sldMk cId="1978358196" sldId="3872"/>
            <ac:cxnSpMk id="16" creationId="{77222E26-4943-0FFE-7257-BCF9EFE338D8}"/>
          </ac:cxnSpMkLst>
        </pc:cxnChg>
      </pc:sldChg>
      <pc:sldChg chg="modSp mod">
        <pc:chgData name="Matsubara Tomoaki" userId="ef143bb3-7e06-476c-90cc-89a444f71210" providerId="ADAL" clId="{A544731A-1D18-58F3-B398-43D663FCF7AC}" dt="2026-04-03T10:59:47.688" v="2438" actId="404"/>
        <pc:sldMkLst>
          <pc:docMk/>
          <pc:sldMk cId="2174544927" sldId="3874"/>
        </pc:sldMkLst>
        <pc:spChg chg="mod">
          <ac:chgData name="Matsubara Tomoaki" userId="ef143bb3-7e06-476c-90cc-89a444f71210" providerId="ADAL" clId="{A544731A-1D18-58F3-B398-43D663FCF7AC}" dt="2026-04-02T10:20:46.208" v="401" actId="20577"/>
          <ac:spMkLst>
            <pc:docMk/>
            <pc:sldMk cId="2174544927" sldId="3874"/>
            <ac:spMk id="20" creationId="{5AB23975-38D1-2211-7A16-A1E5B8BC1E57}"/>
          </ac:spMkLst>
        </pc:spChg>
        <pc:spChg chg="mod">
          <ac:chgData name="Matsubara Tomoaki" userId="ef143bb3-7e06-476c-90cc-89a444f71210" providerId="ADAL" clId="{A544731A-1D18-58F3-B398-43D663FCF7AC}" dt="2026-04-03T10:59:44.471" v="2437" actId="404"/>
          <ac:spMkLst>
            <pc:docMk/>
            <pc:sldMk cId="2174544927" sldId="3874"/>
            <ac:spMk id="24" creationId="{F0155185-6DA8-0806-DCAC-1D84A4D37F70}"/>
          </ac:spMkLst>
        </pc:spChg>
        <pc:spChg chg="mod">
          <ac:chgData name="Matsubara Tomoaki" userId="ef143bb3-7e06-476c-90cc-89a444f71210" providerId="ADAL" clId="{A544731A-1D18-58F3-B398-43D663FCF7AC}" dt="2026-04-03T10:59:47.688" v="2438" actId="404"/>
          <ac:spMkLst>
            <pc:docMk/>
            <pc:sldMk cId="2174544927" sldId="3874"/>
            <ac:spMk id="27" creationId="{275EB12F-0856-188E-0E62-D57AE0BDAAE0}"/>
          </ac:spMkLst>
        </pc:spChg>
        <pc:spChg chg="mod">
          <ac:chgData name="Matsubara Tomoaki" userId="ef143bb3-7e06-476c-90cc-89a444f71210" providerId="ADAL" clId="{A544731A-1D18-58F3-B398-43D663FCF7AC}" dt="2026-04-02T10:20:54.081" v="402"/>
          <ac:spMkLst>
            <pc:docMk/>
            <pc:sldMk cId="2174544927" sldId="3874"/>
            <ac:spMk id="46" creationId="{4468475E-7A65-95D0-CE32-9C2F5BED2831}"/>
          </ac:spMkLst>
        </pc:spChg>
      </pc:sldChg>
      <pc:sldChg chg="modSp mod">
        <pc:chgData name="Matsubara Tomoaki" userId="ef143bb3-7e06-476c-90cc-89a444f71210" providerId="ADAL" clId="{A544731A-1D18-58F3-B398-43D663FCF7AC}" dt="2026-04-03T11:00:01.552" v="2442" actId="404"/>
        <pc:sldMkLst>
          <pc:docMk/>
          <pc:sldMk cId="3241800747" sldId="3876"/>
        </pc:sldMkLst>
        <pc:spChg chg="mod">
          <ac:chgData name="Matsubara Tomoaki" userId="ef143bb3-7e06-476c-90cc-89a444f71210" providerId="ADAL" clId="{A544731A-1D18-58F3-B398-43D663FCF7AC}" dt="2026-04-03T10:59:58.321" v="2441" actId="404"/>
          <ac:spMkLst>
            <pc:docMk/>
            <pc:sldMk cId="3241800747" sldId="3876"/>
            <ac:spMk id="7" creationId="{798FD92F-464F-BDD3-4CA4-471917875EC8}"/>
          </ac:spMkLst>
        </pc:spChg>
        <pc:spChg chg="mod">
          <ac:chgData name="Matsubara Tomoaki" userId="ef143bb3-7e06-476c-90cc-89a444f71210" providerId="ADAL" clId="{A544731A-1D18-58F3-B398-43D663FCF7AC}" dt="2026-04-03T11:00:01.552" v="2442" actId="404"/>
          <ac:spMkLst>
            <pc:docMk/>
            <pc:sldMk cId="3241800747" sldId="3876"/>
            <ac:spMk id="10" creationId="{35AC9463-BF3F-171E-4970-04397E1ED542}"/>
          </ac:spMkLst>
        </pc:spChg>
        <pc:spChg chg="mod">
          <ac:chgData name="Matsubara Tomoaki" userId="ef143bb3-7e06-476c-90cc-89a444f71210" providerId="ADAL" clId="{A544731A-1D18-58F3-B398-43D663FCF7AC}" dt="2026-04-02T10:21:23.235" v="433" actId="20577"/>
          <ac:spMkLst>
            <pc:docMk/>
            <pc:sldMk cId="3241800747" sldId="3876"/>
            <ac:spMk id="20" creationId="{5AB23975-38D1-2211-7A16-A1E5B8BC1E57}"/>
          </ac:spMkLst>
        </pc:spChg>
        <pc:spChg chg="mod">
          <ac:chgData name="Matsubara Tomoaki" userId="ef143bb3-7e06-476c-90cc-89a444f71210" providerId="ADAL" clId="{A544731A-1D18-58F3-B398-43D663FCF7AC}" dt="2026-04-03T10:59:55.721" v="2440" actId="404"/>
          <ac:spMkLst>
            <pc:docMk/>
            <pc:sldMk cId="3241800747" sldId="3876"/>
            <ac:spMk id="46" creationId="{4468475E-7A65-95D0-CE32-9C2F5BED2831}"/>
          </ac:spMkLst>
        </pc:spChg>
      </pc:sldChg>
      <pc:sldChg chg="modSp add mod">
        <pc:chgData name="Matsubara Tomoaki" userId="ef143bb3-7e06-476c-90cc-89a444f71210" providerId="ADAL" clId="{A544731A-1D18-58F3-B398-43D663FCF7AC}" dt="2026-04-03T10:57:36.802" v="2400" actId="404"/>
        <pc:sldMkLst>
          <pc:docMk/>
          <pc:sldMk cId="1809512083" sldId="3880"/>
        </pc:sldMkLst>
        <pc:spChg chg="mod">
          <ac:chgData name="Matsubara Tomoaki" userId="ef143bb3-7e06-476c-90cc-89a444f71210" providerId="ADAL" clId="{A544731A-1D18-58F3-B398-43D663FCF7AC}" dt="2026-04-02T10:28:03.586" v="618" actId="20577"/>
          <ac:spMkLst>
            <pc:docMk/>
            <pc:sldMk cId="1809512083" sldId="3880"/>
            <ac:spMk id="20" creationId="{5AB23975-38D1-2211-7A16-A1E5B8BC1E57}"/>
          </ac:spMkLst>
        </pc:spChg>
        <pc:spChg chg="mod">
          <ac:chgData name="Matsubara Tomoaki" userId="ef143bb3-7e06-476c-90cc-89a444f71210" providerId="ADAL" clId="{A544731A-1D18-58F3-B398-43D663FCF7AC}" dt="2026-04-03T10:57:36.802" v="2400" actId="404"/>
          <ac:spMkLst>
            <pc:docMk/>
            <pc:sldMk cId="1809512083" sldId="3880"/>
            <ac:spMk id="46" creationId="{4468475E-7A65-95D0-CE32-9C2F5BED2831}"/>
          </ac:spMkLst>
        </pc:spChg>
      </pc:sldChg>
      <pc:sldChg chg="addSp delSp modSp add mod">
        <pc:chgData name="Matsubara Tomoaki" userId="ef143bb3-7e06-476c-90cc-89a444f71210" providerId="ADAL" clId="{A544731A-1D18-58F3-B398-43D663FCF7AC}" dt="2026-04-03T10:57:51.340" v="2404" actId="404"/>
        <pc:sldMkLst>
          <pc:docMk/>
          <pc:sldMk cId="485691720" sldId="3881"/>
        </pc:sldMkLst>
        <pc:spChg chg="mod">
          <ac:chgData name="Matsubara Tomoaki" userId="ef143bb3-7e06-476c-90cc-89a444f71210" providerId="ADAL" clId="{A544731A-1D18-58F3-B398-43D663FCF7AC}" dt="2026-04-02T10:30:42.314" v="677" actId="14100"/>
          <ac:spMkLst>
            <pc:docMk/>
            <pc:sldMk cId="485691720" sldId="3881"/>
            <ac:spMk id="6" creationId="{EC45547A-99EF-2B2C-75EB-61C95D97030D}"/>
          </ac:spMkLst>
        </pc:spChg>
        <pc:spChg chg="mod">
          <ac:chgData name="Matsubara Tomoaki" userId="ef143bb3-7e06-476c-90cc-89a444f71210" providerId="ADAL" clId="{A544731A-1D18-58F3-B398-43D663FCF7AC}" dt="2026-04-03T10:57:45.601" v="2401" actId="404"/>
          <ac:spMkLst>
            <pc:docMk/>
            <pc:sldMk cId="485691720" sldId="3881"/>
            <ac:spMk id="20" creationId="{5AB23975-38D1-2211-7A16-A1E5B8BC1E57}"/>
          </ac:spMkLst>
        </pc:spChg>
        <pc:spChg chg="mod">
          <ac:chgData name="Matsubara Tomoaki" userId="ef143bb3-7e06-476c-90cc-89a444f71210" providerId="ADAL" clId="{A544731A-1D18-58F3-B398-43D663FCF7AC}" dt="2026-04-03T10:57:51.340" v="2404" actId="404"/>
          <ac:spMkLst>
            <pc:docMk/>
            <pc:sldMk cId="485691720" sldId="3881"/>
            <ac:spMk id="46" creationId="{4468475E-7A65-95D0-CE32-9C2F5BED2831}"/>
          </ac:spMkLst>
        </pc:spChg>
        <pc:picChg chg="add mod">
          <ac:chgData name="Matsubara Tomoaki" userId="ef143bb3-7e06-476c-90cc-89a444f71210" providerId="ADAL" clId="{A544731A-1D18-58F3-B398-43D663FCF7AC}" dt="2026-04-02T10:30:31.697" v="673" actId="1076"/>
          <ac:picMkLst>
            <pc:docMk/>
            <pc:sldMk cId="485691720" sldId="3881"/>
            <ac:picMk id="2" creationId="{BF49621B-98BC-1537-BBD1-CE762610D6AE}"/>
          </ac:picMkLst>
        </pc:picChg>
      </pc:sldChg>
      <pc:sldChg chg="addSp delSp modSp add mod">
        <pc:chgData name="Matsubara Tomoaki" userId="ef143bb3-7e06-476c-90cc-89a444f71210" providerId="ADAL" clId="{A544731A-1D18-58F3-B398-43D663FCF7AC}" dt="2026-04-02T10:57:34.933" v="1897" actId="20577"/>
        <pc:sldMkLst>
          <pc:docMk/>
          <pc:sldMk cId="3439983282" sldId="3883"/>
        </pc:sldMkLst>
        <pc:spChg chg="mod">
          <ac:chgData name="Matsubara Tomoaki" userId="ef143bb3-7e06-476c-90cc-89a444f71210" providerId="ADAL" clId="{A544731A-1D18-58F3-B398-43D663FCF7AC}" dt="2026-04-02T10:56:54.403" v="1752" actId="14100"/>
          <ac:spMkLst>
            <pc:docMk/>
            <pc:sldMk cId="3439983282" sldId="3883"/>
            <ac:spMk id="7" creationId="{D6FE2489-3CFB-E3B0-AA1A-339D465F333F}"/>
          </ac:spMkLst>
        </pc:spChg>
        <pc:spChg chg="add mod">
          <ac:chgData name="Matsubara Tomoaki" userId="ef143bb3-7e06-476c-90cc-89a444f71210" providerId="ADAL" clId="{A544731A-1D18-58F3-B398-43D663FCF7AC}" dt="2026-04-02T10:57:34.933" v="1897" actId="20577"/>
          <ac:spMkLst>
            <pc:docMk/>
            <pc:sldMk cId="3439983282" sldId="3883"/>
            <ac:spMk id="8" creationId="{7B85CB9A-26CE-56EE-2EEC-0C97E5F15A1B}"/>
          </ac:spMkLst>
        </pc:spChg>
        <pc:spChg chg="mod">
          <ac:chgData name="Matsubara Tomoaki" userId="ef143bb3-7e06-476c-90cc-89a444f71210" providerId="ADAL" clId="{A544731A-1D18-58F3-B398-43D663FCF7AC}" dt="2026-04-02T10:56:44.352" v="1750" actId="20577"/>
          <ac:spMkLst>
            <pc:docMk/>
            <pc:sldMk cId="3439983282" sldId="3883"/>
            <ac:spMk id="20" creationId="{5AB23975-38D1-2211-7A16-A1E5B8BC1E57}"/>
          </ac:spMkLst>
        </pc:spChg>
        <pc:picChg chg="add mod">
          <ac:chgData name="Matsubara Tomoaki" userId="ef143bb3-7e06-476c-90cc-89a444f71210" providerId="ADAL" clId="{A544731A-1D18-58F3-B398-43D663FCF7AC}" dt="2026-04-02T10:56:12.328" v="1690" actId="1076"/>
          <ac:picMkLst>
            <pc:docMk/>
            <pc:sldMk cId="3439983282" sldId="3883"/>
            <ac:picMk id="2" creationId="{8F92184B-4AF8-02C9-FB72-8FFBCB2908D8}"/>
          </ac:picMkLst>
        </pc:picChg>
      </pc:sldChg>
      <pc:sldChg chg="addSp delSp modSp add mod ord">
        <pc:chgData name="Matsubara Tomoaki" userId="ef143bb3-7e06-476c-90cc-89a444f71210" providerId="ADAL" clId="{A544731A-1D18-58F3-B398-43D663FCF7AC}" dt="2026-04-03T10:58:48.854" v="2427" actId="404"/>
        <pc:sldMkLst>
          <pc:docMk/>
          <pc:sldMk cId="2863347708" sldId="3886"/>
        </pc:sldMkLst>
        <pc:spChg chg="mod">
          <ac:chgData name="Matsubara Tomoaki" userId="ef143bb3-7e06-476c-90cc-89a444f71210" providerId="ADAL" clId="{A544731A-1D18-58F3-B398-43D663FCF7AC}" dt="2026-04-02T11:08:43.627" v="2041" actId="1076"/>
          <ac:spMkLst>
            <pc:docMk/>
            <pc:sldMk cId="2863347708" sldId="3886"/>
            <ac:spMk id="3" creationId="{1A0104E4-9E55-530D-07E7-0AD9A30AF234}"/>
          </ac:spMkLst>
        </pc:spChg>
        <pc:spChg chg="add mod">
          <ac:chgData name="Matsubara Tomoaki" userId="ef143bb3-7e06-476c-90cc-89a444f71210" providerId="ADAL" clId="{A544731A-1D18-58F3-B398-43D663FCF7AC}" dt="2026-04-02T10:54:15.574" v="1609" actId="14100"/>
          <ac:spMkLst>
            <pc:docMk/>
            <pc:sldMk cId="2863347708" sldId="3886"/>
            <ac:spMk id="6" creationId="{EEDDB650-BB3E-F0A3-B0AF-944AF7737FDD}"/>
          </ac:spMkLst>
        </pc:spChg>
        <pc:spChg chg="add mod">
          <ac:chgData name="Matsubara Tomoaki" userId="ef143bb3-7e06-476c-90cc-89a444f71210" providerId="ADAL" clId="{A544731A-1D18-58F3-B398-43D663FCF7AC}" dt="2026-04-03T10:58:48.854" v="2427" actId="404"/>
          <ac:spMkLst>
            <pc:docMk/>
            <pc:sldMk cId="2863347708" sldId="3886"/>
            <ac:spMk id="7" creationId="{FE6DC3A8-1555-3398-B684-4C6A797F7E12}"/>
          </ac:spMkLst>
        </pc:spChg>
        <pc:spChg chg="mod">
          <ac:chgData name="Matsubara Tomoaki" userId="ef143bb3-7e06-476c-90cc-89a444f71210" providerId="ADAL" clId="{A544731A-1D18-58F3-B398-43D663FCF7AC}" dt="2026-04-02T10:52:30.277" v="1453" actId="14100"/>
          <ac:spMkLst>
            <pc:docMk/>
            <pc:sldMk cId="2863347708" sldId="3886"/>
            <ac:spMk id="17" creationId="{78B8F90C-15F7-CF85-DEA9-0F5BB1B3BFCC}"/>
          </ac:spMkLst>
        </pc:spChg>
        <pc:spChg chg="mod">
          <ac:chgData name="Matsubara Tomoaki" userId="ef143bb3-7e06-476c-90cc-89a444f71210" providerId="ADAL" clId="{A544731A-1D18-58F3-B398-43D663FCF7AC}" dt="2026-04-02T10:53:58.915" v="1605" actId="20577"/>
          <ac:spMkLst>
            <pc:docMk/>
            <pc:sldMk cId="2863347708" sldId="3886"/>
            <ac:spMk id="20" creationId="{5AB23975-38D1-2211-7A16-A1E5B8BC1E57}"/>
          </ac:spMkLst>
        </pc:spChg>
        <pc:picChg chg="add mod">
          <ac:chgData name="Matsubara Tomoaki" userId="ef143bb3-7e06-476c-90cc-89a444f71210" providerId="ADAL" clId="{A544731A-1D18-58F3-B398-43D663FCF7AC}" dt="2026-04-02T10:52:22.246" v="1450" actId="167"/>
          <ac:picMkLst>
            <pc:docMk/>
            <pc:sldMk cId="2863347708" sldId="3886"/>
            <ac:picMk id="2" creationId="{BEC10140-5418-824A-292F-60BA90EABC7E}"/>
          </ac:picMkLst>
        </pc:picChg>
      </pc:sldChg>
      <pc:sldChg chg="addSp delSp modSp add mod">
        <pc:chgData name="Matsubara Tomoaki" userId="ef143bb3-7e06-476c-90cc-89a444f71210" providerId="ADAL" clId="{A544731A-1D18-58F3-B398-43D663FCF7AC}" dt="2026-04-03T10:58:03.818" v="2409" actId="404"/>
        <pc:sldMkLst>
          <pc:docMk/>
          <pc:sldMk cId="269662093" sldId="3917"/>
        </pc:sldMkLst>
        <pc:spChg chg="mod">
          <ac:chgData name="Matsubara Tomoaki" userId="ef143bb3-7e06-476c-90cc-89a444f71210" providerId="ADAL" clId="{A544731A-1D18-58F3-B398-43D663FCF7AC}" dt="2026-04-02T10:40:39.983" v="904" actId="20577"/>
          <ac:spMkLst>
            <pc:docMk/>
            <pc:sldMk cId="269662093" sldId="3917"/>
            <ac:spMk id="5" creationId="{9A9B56B4-A6B2-88F9-5E83-120EE78D9DE4}"/>
          </ac:spMkLst>
        </pc:spChg>
        <pc:spChg chg="mod">
          <ac:chgData name="Matsubara Tomoaki" userId="ef143bb3-7e06-476c-90cc-89a444f71210" providerId="ADAL" clId="{A544731A-1D18-58F3-B398-43D663FCF7AC}" dt="2026-04-02T10:39:32.727" v="703" actId="14100"/>
          <ac:spMkLst>
            <pc:docMk/>
            <pc:sldMk cId="269662093" sldId="3917"/>
            <ac:spMk id="6" creationId="{2C6C1C85-AD22-20AB-5011-69B7C6236C3B}"/>
          </ac:spMkLst>
        </pc:spChg>
        <pc:spChg chg="mod">
          <ac:chgData name="Matsubara Tomoaki" userId="ef143bb3-7e06-476c-90cc-89a444f71210" providerId="ADAL" clId="{A544731A-1D18-58F3-B398-43D663FCF7AC}" dt="2026-04-03T10:58:03.818" v="2409" actId="404"/>
          <ac:spMkLst>
            <pc:docMk/>
            <pc:sldMk cId="269662093" sldId="3917"/>
            <ac:spMk id="20" creationId="{0F09414A-BD98-DD11-E467-4932A10DF48F}"/>
          </ac:spMkLst>
        </pc:spChg>
        <pc:spChg chg="mod">
          <ac:chgData name="Matsubara Tomoaki" userId="ef143bb3-7e06-476c-90cc-89a444f71210" providerId="ADAL" clId="{A544731A-1D18-58F3-B398-43D663FCF7AC}" dt="2026-04-03T10:57:59.622" v="2407" actId="404"/>
          <ac:spMkLst>
            <pc:docMk/>
            <pc:sldMk cId="269662093" sldId="3917"/>
            <ac:spMk id="46" creationId="{5CDC0209-D522-E084-46F7-69A98B8AD02E}"/>
          </ac:spMkLst>
        </pc:spChg>
        <pc:picChg chg="add mod">
          <ac:chgData name="Matsubara Tomoaki" userId="ef143bb3-7e06-476c-90cc-89a444f71210" providerId="ADAL" clId="{A544731A-1D18-58F3-B398-43D663FCF7AC}" dt="2026-04-02T10:39:27.469" v="701" actId="167"/>
          <ac:picMkLst>
            <pc:docMk/>
            <pc:sldMk cId="269662093" sldId="3917"/>
            <ac:picMk id="4" creationId="{0179C332-E6B7-5066-D7C0-E769CF26F6CE}"/>
          </ac:picMkLst>
        </pc:picChg>
      </pc:sldChg>
      <pc:sldChg chg="addSp delSp modSp add mod">
        <pc:chgData name="Matsubara Tomoaki" userId="ef143bb3-7e06-476c-90cc-89a444f71210" providerId="ADAL" clId="{A544731A-1D18-58F3-B398-43D663FCF7AC}" dt="2026-04-03T10:58:16.653" v="2415" actId="404"/>
        <pc:sldMkLst>
          <pc:docMk/>
          <pc:sldMk cId="975578509" sldId="3918"/>
        </pc:sldMkLst>
        <pc:spChg chg="mod">
          <ac:chgData name="Matsubara Tomoaki" userId="ef143bb3-7e06-476c-90cc-89a444f71210" providerId="ADAL" clId="{A544731A-1D18-58F3-B398-43D663FCF7AC}" dt="2026-04-02T10:42:15.473" v="988" actId="14100"/>
          <ac:spMkLst>
            <pc:docMk/>
            <pc:sldMk cId="975578509" sldId="3918"/>
            <ac:spMk id="6" creationId="{57A747FE-15DB-5913-C8DE-9260E03BAE82}"/>
          </ac:spMkLst>
        </pc:spChg>
        <pc:spChg chg="mod">
          <ac:chgData name="Matsubara Tomoaki" userId="ef143bb3-7e06-476c-90cc-89a444f71210" providerId="ADAL" clId="{A544731A-1D18-58F3-B398-43D663FCF7AC}" dt="2026-04-03T10:58:11.718" v="2412" actId="404"/>
          <ac:spMkLst>
            <pc:docMk/>
            <pc:sldMk cId="975578509" sldId="3918"/>
            <ac:spMk id="20" creationId="{8197B0AD-83C4-19C6-D735-71E572FDBA23}"/>
          </ac:spMkLst>
        </pc:spChg>
        <pc:spChg chg="mod">
          <ac:chgData name="Matsubara Tomoaki" userId="ef143bb3-7e06-476c-90cc-89a444f71210" providerId="ADAL" clId="{A544731A-1D18-58F3-B398-43D663FCF7AC}" dt="2026-04-03T10:58:16.653" v="2415" actId="404"/>
          <ac:spMkLst>
            <pc:docMk/>
            <pc:sldMk cId="975578509" sldId="3918"/>
            <ac:spMk id="46" creationId="{14C19EEA-6DB2-E770-D4D4-7676A02FC72B}"/>
          </ac:spMkLst>
        </pc:spChg>
        <pc:picChg chg="add mod">
          <ac:chgData name="Matsubara Tomoaki" userId="ef143bb3-7e06-476c-90cc-89a444f71210" providerId="ADAL" clId="{A544731A-1D18-58F3-B398-43D663FCF7AC}" dt="2026-04-02T10:42:10.116" v="986" actId="167"/>
          <ac:picMkLst>
            <pc:docMk/>
            <pc:sldMk cId="975578509" sldId="3918"/>
            <ac:picMk id="2" creationId="{92EDE392-11E6-5BB9-EAF5-42CB7E913546}"/>
          </ac:picMkLst>
        </pc:picChg>
      </pc:sldChg>
      <pc:sldChg chg="addSp delSp modSp add mod">
        <pc:chgData name="Matsubara Tomoaki" userId="ef143bb3-7e06-476c-90cc-89a444f71210" providerId="ADAL" clId="{A544731A-1D18-58F3-B398-43D663FCF7AC}" dt="2026-04-03T10:58:37.787" v="2425" actId="404"/>
        <pc:sldMkLst>
          <pc:docMk/>
          <pc:sldMk cId="222103963" sldId="3919"/>
        </pc:sldMkLst>
        <pc:spChg chg="mod">
          <ac:chgData name="Matsubara Tomoaki" userId="ef143bb3-7e06-476c-90cc-89a444f71210" providerId="ADAL" clId="{A544731A-1D18-58F3-B398-43D663FCF7AC}" dt="2026-04-03T10:58:37.787" v="2425" actId="404"/>
          <ac:spMkLst>
            <pc:docMk/>
            <pc:sldMk cId="222103963" sldId="3919"/>
            <ac:spMk id="3" creationId="{C9B49724-E413-2B23-541D-EF86512C512A}"/>
          </ac:spMkLst>
        </pc:spChg>
        <pc:spChg chg="mod">
          <ac:chgData name="Matsubara Tomoaki" userId="ef143bb3-7e06-476c-90cc-89a444f71210" providerId="ADAL" clId="{A544731A-1D18-58F3-B398-43D663FCF7AC}" dt="2026-04-02T11:10:37.756" v="2065" actId="20577"/>
          <ac:spMkLst>
            <pc:docMk/>
            <pc:sldMk cId="222103963" sldId="3919"/>
            <ac:spMk id="5" creationId="{5DEA1BB5-CA21-DB39-8EDF-62BA8FD04404}"/>
          </ac:spMkLst>
        </pc:spChg>
        <pc:spChg chg="add mod">
          <ac:chgData name="Matsubara Tomoaki" userId="ef143bb3-7e06-476c-90cc-89a444f71210" providerId="ADAL" clId="{A544731A-1D18-58F3-B398-43D663FCF7AC}" dt="2026-04-02T10:47:42.500" v="1438" actId="1076"/>
          <ac:spMkLst>
            <pc:docMk/>
            <pc:sldMk cId="222103963" sldId="3919"/>
            <ac:spMk id="7" creationId="{DAE80BCD-78D8-E065-CAA9-E353C26E2363}"/>
          </ac:spMkLst>
        </pc:spChg>
        <pc:spChg chg="mod">
          <ac:chgData name="Matsubara Tomoaki" userId="ef143bb3-7e06-476c-90cc-89a444f71210" providerId="ADAL" clId="{A544731A-1D18-58F3-B398-43D663FCF7AC}" dt="2026-04-03T10:58:25.988" v="2419" actId="403"/>
          <ac:spMkLst>
            <pc:docMk/>
            <pc:sldMk cId="222103963" sldId="3919"/>
            <ac:spMk id="20" creationId="{A535FACE-2887-0C0B-7DCF-A4B6ADF6F8CA}"/>
          </ac:spMkLst>
        </pc:spChg>
        <pc:spChg chg="mod">
          <ac:chgData name="Matsubara Tomoaki" userId="ef143bb3-7e06-476c-90cc-89a444f71210" providerId="ADAL" clId="{A544731A-1D18-58F3-B398-43D663FCF7AC}" dt="2026-04-03T10:58:31.987" v="2422" actId="404"/>
          <ac:spMkLst>
            <pc:docMk/>
            <pc:sldMk cId="222103963" sldId="3919"/>
            <ac:spMk id="46" creationId="{CB21EFE0-43A4-6E95-EBBB-D784B1C79DFF}"/>
          </ac:spMkLst>
        </pc:spChg>
        <pc:picChg chg="add mod">
          <ac:chgData name="Matsubara Tomoaki" userId="ef143bb3-7e06-476c-90cc-89a444f71210" providerId="ADAL" clId="{A544731A-1D18-58F3-B398-43D663FCF7AC}" dt="2026-04-02T10:46:52.550" v="1249" actId="1076"/>
          <ac:picMkLst>
            <pc:docMk/>
            <pc:sldMk cId="222103963" sldId="3919"/>
            <ac:picMk id="4" creationId="{210BF060-B081-4713-2D2D-62EB7D082B95}"/>
          </ac:picMkLst>
        </pc:picChg>
      </pc:sldChg>
      <pc:sldChg chg="addSp delSp modSp add mod">
        <pc:chgData name="Matsubara Tomoaki" userId="ef143bb3-7e06-476c-90cc-89a444f71210" providerId="ADAL" clId="{A544731A-1D18-58F3-B398-43D663FCF7AC}" dt="2026-04-02T11:01:02.434" v="1968" actId="20577"/>
        <pc:sldMkLst>
          <pc:docMk/>
          <pc:sldMk cId="3597677398" sldId="3921"/>
        </pc:sldMkLst>
        <pc:spChg chg="mod">
          <ac:chgData name="Matsubara Tomoaki" userId="ef143bb3-7e06-476c-90cc-89a444f71210" providerId="ADAL" clId="{A544731A-1D18-58F3-B398-43D663FCF7AC}" dt="2026-04-02T11:01:02.434" v="1968" actId="20577"/>
          <ac:spMkLst>
            <pc:docMk/>
            <pc:sldMk cId="3597677398" sldId="3921"/>
            <ac:spMk id="5" creationId="{1DE8360C-F512-411B-4643-A425F1735F6E}"/>
          </ac:spMkLst>
        </pc:spChg>
        <pc:spChg chg="mod">
          <ac:chgData name="Matsubara Tomoaki" userId="ef143bb3-7e06-476c-90cc-89a444f71210" providerId="ADAL" clId="{A544731A-1D18-58F3-B398-43D663FCF7AC}" dt="2026-04-02T11:00:56.179" v="1959" actId="14100"/>
          <ac:spMkLst>
            <pc:docMk/>
            <pc:sldMk cId="3597677398" sldId="3921"/>
            <ac:spMk id="7" creationId="{3AFC533D-8463-AF5C-F345-2358754D07B6}"/>
          </ac:spMkLst>
        </pc:spChg>
        <pc:spChg chg="mod">
          <ac:chgData name="Matsubara Tomoaki" userId="ef143bb3-7e06-476c-90cc-89a444f71210" providerId="ADAL" clId="{A544731A-1D18-58F3-B398-43D663FCF7AC}" dt="2026-04-02T10:58:20.253" v="1951" actId="20577"/>
          <ac:spMkLst>
            <pc:docMk/>
            <pc:sldMk cId="3597677398" sldId="3921"/>
            <ac:spMk id="8" creationId="{F15D68CC-3BAF-A9EC-901D-3A77FBC87859}"/>
          </ac:spMkLst>
        </pc:spChg>
        <pc:spChg chg="mod">
          <ac:chgData name="Matsubara Tomoaki" userId="ef143bb3-7e06-476c-90cc-89a444f71210" providerId="ADAL" clId="{A544731A-1D18-58F3-B398-43D663FCF7AC}" dt="2026-04-02T10:58:02.452" v="1911" actId="20577"/>
          <ac:spMkLst>
            <pc:docMk/>
            <pc:sldMk cId="3597677398" sldId="3921"/>
            <ac:spMk id="20" creationId="{EB06FF00-18DB-9EB1-32FB-AFB4E88DC156}"/>
          </ac:spMkLst>
        </pc:spChg>
        <pc:picChg chg="add mod">
          <ac:chgData name="Matsubara Tomoaki" userId="ef143bb3-7e06-476c-90cc-89a444f71210" providerId="ADAL" clId="{A544731A-1D18-58F3-B398-43D663FCF7AC}" dt="2026-04-02T11:00:50.892" v="1957" actId="167"/>
          <ac:picMkLst>
            <pc:docMk/>
            <pc:sldMk cId="3597677398" sldId="3921"/>
            <ac:picMk id="4" creationId="{0F71F2B6-80FC-087D-9AD2-1C929F44C2DD}"/>
          </ac:picMkLst>
        </pc:picChg>
      </pc:sldChg>
    </pc:docChg>
  </pc:docChgLst>
  <pc:docChgLst>
    <pc:chgData name="Kubota Nichika" userId="S::kubota.n@lefixea.com::8fb0ef68-18aa-4d1b-b018-3b48622e93e2" providerId="AD" clId="Web-{F8E55A81-75D8-7D17-2AEE-B1C58D9651BB}"/>
    <pc:docChg chg="modSld">
      <pc:chgData name="Kubota Nichika" userId="S::kubota.n@lefixea.com::8fb0ef68-18aa-4d1b-b018-3b48622e93e2" providerId="AD" clId="Web-{F8E55A81-75D8-7D17-2AEE-B1C58D9651BB}" dt="2026-04-08T07:17:14.250" v="492" actId="1076"/>
      <pc:docMkLst>
        <pc:docMk/>
      </pc:docMkLst>
      <pc:sldChg chg="addSp delSp modSp">
        <pc:chgData name="Kubota Nichika" userId="S::kubota.n@lefixea.com::8fb0ef68-18aa-4d1b-b018-3b48622e93e2" providerId="AD" clId="Web-{F8E55A81-75D8-7D17-2AEE-B1C58D9651BB}" dt="2026-04-08T07:12:48.249" v="463" actId="1076"/>
        <pc:sldMkLst>
          <pc:docMk/>
          <pc:sldMk cId="817774986" sldId="3871"/>
        </pc:sldMkLst>
        <pc:spChg chg="add mod">
          <ac:chgData name="Kubota Nichika" userId="S::kubota.n@lefixea.com::8fb0ef68-18aa-4d1b-b018-3b48622e93e2" providerId="AD" clId="Web-{F8E55A81-75D8-7D17-2AEE-B1C58D9651BB}" dt="2026-04-08T07:12:45.984" v="462" actId="14100"/>
          <ac:spMkLst>
            <pc:docMk/>
            <pc:sldMk cId="817774986" sldId="3871"/>
            <ac:spMk id="4" creationId="{36153894-0775-8543-9872-883E24D76A88}"/>
          </ac:spMkLst>
        </pc:spChg>
        <pc:spChg chg="mod">
          <ac:chgData name="Kubota Nichika" userId="S::kubota.n@lefixea.com::8fb0ef68-18aa-4d1b-b018-3b48622e93e2" providerId="AD" clId="Web-{F8E55A81-75D8-7D17-2AEE-B1C58D9651BB}" dt="2026-04-08T07:12:20.435" v="455" actId="14100"/>
          <ac:spMkLst>
            <pc:docMk/>
            <pc:sldMk cId="817774986" sldId="3871"/>
            <ac:spMk id="6" creationId="{4F6BC3D6-458B-7B2D-832A-FC0F7BD11832}"/>
          </ac:spMkLst>
        </pc:spChg>
        <pc:spChg chg="mod">
          <ac:chgData name="Kubota Nichika" userId="S::kubota.n@lefixea.com::8fb0ef68-18aa-4d1b-b018-3b48622e93e2" providerId="AD" clId="Web-{F8E55A81-75D8-7D17-2AEE-B1C58D9651BB}" dt="2026-04-08T06:12:47.418" v="38" actId="1076"/>
          <ac:spMkLst>
            <pc:docMk/>
            <pc:sldMk cId="817774986" sldId="3871"/>
            <ac:spMk id="8" creationId="{9988D391-B37B-9DA9-52B9-91DC634BEC14}"/>
          </ac:spMkLst>
        </pc:spChg>
        <pc:spChg chg="mod">
          <ac:chgData name="Kubota Nichika" userId="S::kubota.n@lefixea.com::8fb0ef68-18aa-4d1b-b018-3b48622e93e2" providerId="AD" clId="Web-{F8E55A81-75D8-7D17-2AEE-B1C58D9651BB}" dt="2026-04-08T07:12:48.249" v="463" actId="1076"/>
          <ac:spMkLst>
            <pc:docMk/>
            <pc:sldMk cId="817774986" sldId="3871"/>
            <ac:spMk id="9" creationId="{951D0033-9CA6-9983-5D54-6B50E6C5DA3F}"/>
          </ac:spMkLst>
        </pc:spChg>
        <pc:picChg chg="add del mod">
          <ac:chgData name="Kubota Nichika" userId="S::kubota.n@lefixea.com::8fb0ef68-18aa-4d1b-b018-3b48622e93e2" providerId="AD" clId="Web-{F8E55A81-75D8-7D17-2AEE-B1C58D9651BB}" dt="2026-04-08T06:12:08.152" v="31"/>
          <ac:picMkLst>
            <pc:docMk/>
            <pc:sldMk cId="817774986" sldId="3871"/>
            <ac:picMk id="2" creationId="{68067E17-DC8C-B494-C9CF-16E05A6EB7B3}"/>
          </ac:picMkLst>
        </pc:picChg>
        <pc:picChg chg="mod modCrop">
          <ac:chgData name="Kubota Nichika" userId="S::kubota.n@lefixea.com::8fb0ef68-18aa-4d1b-b018-3b48622e93e2" providerId="AD" clId="Web-{F8E55A81-75D8-7D17-2AEE-B1C58D9651BB}" dt="2026-04-08T07:12:08.980" v="453"/>
          <ac:picMkLst>
            <pc:docMk/>
            <pc:sldMk cId="817774986" sldId="3871"/>
            <ac:picMk id="13" creationId="{6371A845-5507-EFD9-5611-37AB74031DFF}"/>
          </ac:picMkLst>
        </pc:picChg>
        <pc:cxnChg chg="mod">
          <ac:chgData name="Kubota Nichika" userId="S::kubota.n@lefixea.com::8fb0ef68-18aa-4d1b-b018-3b48622e93e2" providerId="AD" clId="Web-{F8E55A81-75D8-7D17-2AEE-B1C58D9651BB}" dt="2026-04-08T07:12:48.249" v="463" actId="1076"/>
          <ac:cxnSpMkLst>
            <pc:docMk/>
            <pc:sldMk cId="817774986" sldId="3871"/>
            <ac:cxnSpMk id="18" creationId="{9CCEE4D7-F7AE-1603-C8DF-CB933BADB6AF}"/>
          </ac:cxnSpMkLst>
        </pc:cxnChg>
        <pc:cxnChg chg="mod">
          <ac:chgData name="Kubota Nichika" userId="S::kubota.n@lefixea.com::8fb0ef68-18aa-4d1b-b018-3b48622e93e2" providerId="AD" clId="Web-{F8E55A81-75D8-7D17-2AEE-B1C58D9651BB}" dt="2026-04-08T07:12:20.435" v="455" actId="14100"/>
          <ac:cxnSpMkLst>
            <pc:docMk/>
            <pc:sldMk cId="817774986" sldId="3871"/>
            <ac:cxnSpMk id="27" creationId="{13AF5ACC-9717-7509-2412-247F96E078DA}"/>
          </ac:cxnSpMkLst>
        </pc:cxnChg>
      </pc:sldChg>
      <pc:sldChg chg="addSp modSp">
        <pc:chgData name="Kubota Nichika" userId="S::kubota.n@lefixea.com::8fb0ef68-18aa-4d1b-b018-3b48622e93e2" providerId="AD" clId="Web-{F8E55A81-75D8-7D17-2AEE-B1C58D9651BB}" dt="2026-04-08T07:13:47.442" v="476" actId="1076"/>
        <pc:sldMkLst>
          <pc:docMk/>
          <pc:sldMk cId="1978358196" sldId="3872"/>
        </pc:sldMkLst>
        <pc:spChg chg="add mod">
          <ac:chgData name="Kubota Nichika" userId="S::kubota.n@lefixea.com::8fb0ef68-18aa-4d1b-b018-3b48622e93e2" providerId="AD" clId="Web-{F8E55A81-75D8-7D17-2AEE-B1C58D9651BB}" dt="2026-04-08T07:13:47.442" v="476" actId="1076"/>
          <ac:spMkLst>
            <pc:docMk/>
            <pc:sldMk cId="1978358196" sldId="3872"/>
            <ac:spMk id="4" creationId="{23483DDE-BE68-2692-70E7-CD9951D2D1C0}"/>
          </ac:spMkLst>
        </pc:spChg>
        <pc:spChg chg="mod">
          <ac:chgData name="Kubota Nichika" userId="S::kubota.n@lefixea.com::8fb0ef68-18aa-4d1b-b018-3b48622e93e2" providerId="AD" clId="Web-{F8E55A81-75D8-7D17-2AEE-B1C58D9651BB}" dt="2026-04-08T07:13:24.877" v="470" actId="1076"/>
          <ac:spMkLst>
            <pc:docMk/>
            <pc:sldMk cId="1978358196" sldId="3872"/>
            <ac:spMk id="7" creationId="{FC02CC47-9746-D93D-2A39-D5CB10E7B4F4}"/>
          </ac:spMkLst>
        </pc:spChg>
        <pc:spChg chg="mod">
          <ac:chgData name="Kubota Nichika" userId="S::kubota.n@lefixea.com::8fb0ef68-18aa-4d1b-b018-3b48622e93e2" providerId="AD" clId="Web-{F8E55A81-75D8-7D17-2AEE-B1C58D9651BB}" dt="2026-04-08T07:13:27.299" v="471" actId="1076"/>
          <ac:spMkLst>
            <pc:docMk/>
            <pc:sldMk cId="1978358196" sldId="3872"/>
            <ac:spMk id="8" creationId="{326546C6-8564-2BAB-863D-8B5AE54CEDB1}"/>
          </ac:spMkLst>
        </pc:spChg>
        <pc:spChg chg="mod">
          <ac:chgData name="Kubota Nichika" userId="S::kubota.n@lefixea.com::8fb0ef68-18aa-4d1b-b018-3b48622e93e2" providerId="AD" clId="Web-{F8E55A81-75D8-7D17-2AEE-B1C58D9651BB}" dt="2026-04-08T07:13:21.580" v="469" actId="1076"/>
          <ac:spMkLst>
            <pc:docMk/>
            <pc:sldMk cId="1978358196" sldId="3872"/>
            <ac:spMk id="9" creationId="{7BD7887D-F104-6833-EFF9-4C8677CFE47D}"/>
          </ac:spMkLst>
        </pc:spChg>
        <pc:picChg chg="mod modCrop">
          <ac:chgData name="Kubota Nichika" userId="S::kubota.n@lefixea.com::8fb0ef68-18aa-4d1b-b018-3b48622e93e2" providerId="AD" clId="Web-{F8E55A81-75D8-7D17-2AEE-B1C58D9651BB}" dt="2026-04-08T07:13:18.439" v="468" actId="14100"/>
          <ac:picMkLst>
            <pc:docMk/>
            <pc:sldMk cId="1978358196" sldId="3872"/>
            <ac:picMk id="23" creationId="{8B98C6EA-B3B6-0FF0-3574-6BE628312056}"/>
          </ac:picMkLst>
        </pc:picChg>
        <pc:cxnChg chg="mod">
          <ac:chgData name="Kubota Nichika" userId="S::kubota.n@lefixea.com::8fb0ef68-18aa-4d1b-b018-3b48622e93e2" providerId="AD" clId="Web-{F8E55A81-75D8-7D17-2AEE-B1C58D9651BB}" dt="2026-04-08T07:13:21.580" v="469" actId="1076"/>
          <ac:cxnSpMkLst>
            <pc:docMk/>
            <pc:sldMk cId="1978358196" sldId="3872"/>
            <ac:cxnSpMk id="15" creationId="{35BB64EE-C579-EC96-9393-456113291264}"/>
          </ac:cxnSpMkLst>
        </pc:cxnChg>
        <pc:cxnChg chg="mod">
          <ac:chgData name="Kubota Nichika" userId="S::kubota.n@lefixea.com::8fb0ef68-18aa-4d1b-b018-3b48622e93e2" providerId="AD" clId="Web-{F8E55A81-75D8-7D17-2AEE-B1C58D9651BB}" dt="2026-04-08T07:13:32.909" v="472" actId="14100"/>
          <ac:cxnSpMkLst>
            <pc:docMk/>
            <pc:sldMk cId="1978358196" sldId="3872"/>
            <ac:cxnSpMk id="16" creationId="{77222E26-4943-0FFE-7257-BCF9EFE338D8}"/>
          </ac:cxnSpMkLst>
        </pc:cxnChg>
        <pc:cxnChg chg="mod">
          <ac:chgData name="Kubota Nichika" userId="S::kubota.n@lefixea.com::8fb0ef68-18aa-4d1b-b018-3b48622e93e2" providerId="AD" clId="Web-{F8E55A81-75D8-7D17-2AEE-B1C58D9651BB}" dt="2026-04-08T07:13:24.877" v="470" actId="1076"/>
          <ac:cxnSpMkLst>
            <pc:docMk/>
            <pc:sldMk cId="1978358196" sldId="3872"/>
            <ac:cxnSpMk id="17" creationId="{98B59B4B-A946-3B4F-F3A2-3272AE49BF75}"/>
          </ac:cxnSpMkLst>
        </pc:cxnChg>
      </pc:sldChg>
      <pc:sldChg chg="addSp delSp modSp">
        <pc:chgData name="Kubota Nichika" userId="S::kubota.n@lefixea.com::8fb0ef68-18aa-4d1b-b018-3b48622e93e2" providerId="AD" clId="Web-{F8E55A81-75D8-7D17-2AEE-B1C58D9651BB}" dt="2026-04-08T06:56:15.101" v="299" actId="1076"/>
        <pc:sldMkLst>
          <pc:docMk/>
          <pc:sldMk cId="2174544927" sldId="3874"/>
        </pc:sldMkLst>
        <pc:spChg chg="add mod ord">
          <ac:chgData name="Kubota Nichika" userId="S::kubota.n@lefixea.com::8fb0ef68-18aa-4d1b-b018-3b48622e93e2" providerId="AD" clId="Web-{F8E55A81-75D8-7D17-2AEE-B1C58D9651BB}" dt="2026-04-08T06:19:55.689" v="96"/>
          <ac:spMkLst>
            <pc:docMk/>
            <pc:sldMk cId="2174544927" sldId="3874"/>
            <ac:spMk id="4" creationId="{E4FE1758-820B-CBC2-09FF-FC190963C989}"/>
          </ac:spMkLst>
        </pc:spChg>
        <pc:spChg chg="mod">
          <ac:chgData name="Kubota Nichika" userId="S::kubota.n@lefixea.com::8fb0ef68-18aa-4d1b-b018-3b48622e93e2" providerId="AD" clId="Web-{F8E55A81-75D8-7D17-2AEE-B1C58D9651BB}" dt="2026-04-08T06:21:04.489" v="120" actId="1076"/>
          <ac:spMkLst>
            <pc:docMk/>
            <pc:sldMk cId="2174544927" sldId="3874"/>
            <ac:spMk id="15" creationId="{7ECF9464-7E17-F884-4A48-7F8C033E1ACF}"/>
          </ac:spMkLst>
        </pc:spChg>
        <pc:spChg chg="mod">
          <ac:chgData name="Kubota Nichika" userId="S::kubota.n@lefixea.com::8fb0ef68-18aa-4d1b-b018-3b48622e93e2" providerId="AD" clId="Web-{F8E55A81-75D8-7D17-2AEE-B1C58D9651BB}" dt="2026-04-08T06:23:28.587" v="167" actId="1076"/>
          <ac:spMkLst>
            <pc:docMk/>
            <pc:sldMk cId="2174544927" sldId="3874"/>
            <ac:spMk id="22" creationId="{BB7C4D8F-CBA5-73B9-6268-67DD40F20D9F}"/>
          </ac:spMkLst>
        </pc:spChg>
        <pc:spChg chg="mod ord">
          <ac:chgData name="Kubota Nichika" userId="S::kubota.n@lefixea.com::8fb0ef68-18aa-4d1b-b018-3b48622e93e2" providerId="AD" clId="Web-{F8E55A81-75D8-7D17-2AEE-B1C58D9651BB}" dt="2026-04-08T06:22:33.117" v="145"/>
          <ac:spMkLst>
            <pc:docMk/>
            <pc:sldMk cId="2174544927" sldId="3874"/>
            <ac:spMk id="27" creationId="{275EB12F-0856-188E-0E62-D57AE0BDAAE0}"/>
          </ac:spMkLst>
        </pc:spChg>
        <pc:picChg chg="add mod ord modCrop">
          <ac:chgData name="Kubota Nichika" userId="S::kubota.n@lefixea.com::8fb0ef68-18aa-4d1b-b018-3b48622e93e2" providerId="AD" clId="Web-{F8E55A81-75D8-7D17-2AEE-B1C58D9651BB}" dt="2026-04-08T06:23:02.524" v="148"/>
          <ac:picMkLst>
            <pc:docMk/>
            <pc:sldMk cId="2174544927" sldId="3874"/>
            <ac:picMk id="2" creationId="{4295EBB8-C9D1-CA30-5E12-CC796395FBB7}"/>
          </ac:picMkLst>
        </pc:picChg>
        <pc:picChg chg="add del mod modCrop">
          <ac:chgData name="Kubota Nichika" userId="S::kubota.n@lefixea.com::8fb0ef68-18aa-4d1b-b018-3b48622e93e2" providerId="AD" clId="Web-{F8E55A81-75D8-7D17-2AEE-B1C58D9651BB}" dt="2026-04-08T06:16:24.989" v="67"/>
          <ac:picMkLst>
            <pc:docMk/>
            <pc:sldMk cId="2174544927" sldId="3874"/>
            <ac:picMk id="6" creationId="{947A059C-8E76-A92D-FA95-48ED78D100C4}"/>
          </ac:picMkLst>
        </pc:picChg>
        <pc:picChg chg="add mod ord modCrop">
          <ac:chgData name="Kubota Nichika" userId="S::kubota.n@lefixea.com::8fb0ef68-18aa-4d1b-b018-3b48622e93e2" providerId="AD" clId="Web-{F8E55A81-75D8-7D17-2AEE-B1C58D9651BB}" dt="2026-04-08T06:56:15.101" v="299" actId="1076"/>
          <ac:picMkLst>
            <pc:docMk/>
            <pc:sldMk cId="2174544927" sldId="3874"/>
            <ac:picMk id="7" creationId="{EA0093F1-085A-13C3-AFB1-415DBAF7020B}"/>
          </ac:picMkLst>
        </pc:picChg>
        <pc:picChg chg="add mod modCrop">
          <ac:chgData name="Kubota Nichika" userId="S::kubota.n@lefixea.com::8fb0ef68-18aa-4d1b-b018-3b48622e93e2" providerId="AD" clId="Web-{F8E55A81-75D8-7D17-2AEE-B1C58D9651BB}" dt="2026-04-08T06:20:36.363" v="114"/>
          <ac:picMkLst>
            <pc:docMk/>
            <pc:sldMk cId="2174544927" sldId="3874"/>
            <ac:picMk id="8" creationId="{D330EA14-6546-9993-ACF2-A1166213EC1B}"/>
          </ac:picMkLst>
        </pc:picChg>
        <pc:picChg chg="add del mod">
          <ac:chgData name="Kubota Nichika" userId="S::kubota.n@lefixea.com::8fb0ef68-18aa-4d1b-b018-3b48622e93e2" providerId="AD" clId="Web-{F8E55A81-75D8-7D17-2AEE-B1C58D9651BB}" dt="2026-04-08T06:21:05.661" v="123"/>
          <ac:picMkLst>
            <pc:docMk/>
            <pc:sldMk cId="2174544927" sldId="3874"/>
            <ac:picMk id="9" creationId="{AA7D06EE-77CE-5D33-6EF6-0A5C707E2608}"/>
          </ac:picMkLst>
        </pc:picChg>
        <pc:picChg chg="add mod modCrop">
          <ac:chgData name="Kubota Nichika" userId="S::kubota.n@lefixea.com::8fb0ef68-18aa-4d1b-b018-3b48622e93e2" providerId="AD" clId="Web-{F8E55A81-75D8-7D17-2AEE-B1C58D9651BB}" dt="2026-04-08T06:21:25.005" v="130"/>
          <ac:picMkLst>
            <pc:docMk/>
            <pc:sldMk cId="2174544927" sldId="3874"/>
            <ac:picMk id="10" creationId="{632322CC-E742-B924-F244-4A666388743F}"/>
          </ac:picMkLst>
        </pc:picChg>
        <pc:picChg chg="add mod modCrop">
          <ac:chgData name="Kubota Nichika" userId="S::kubota.n@lefixea.com::8fb0ef68-18aa-4d1b-b018-3b48622e93e2" providerId="AD" clId="Web-{F8E55A81-75D8-7D17-2AEE-B1C58D9651BB}" dt="2026-04-08T06:22:36.445" v="146" actId="1076"/>
          <ac:picMkLst>
            <pc:docMk/>
            <pc:sldMk cId="2174544927" sldId="3874"/>
            <ac:picMk id="11" creationId="{6F5530B4-271B-274C-07FB-6754C1AC758F}"/>
          </ac:picMkLst>
        </pc:picChg>
        <pc:picChg chg="add mod ord modCrop">
          <ac:chgData name="Kubota Nichika" userId="S::kubota.n@lefixea.com::8fb0ef68-18aa-4d1b-b018-3b48622e93e2" providerId="AD" clId="Web-{F8E55A81-75D8-7D17-2AEE-B1C58D9651BB}" dt="2026-04-08T06:23:22.446" v="166"/>
          <ac:picMkLst>
            <pc:docMk/>
            <pc:sldMk cId="2174544927" sldId="3874"/>
            <ac:picMk id="12" creationId="{7B067445-7EAA-238D-71AB-77156BC137E3}"/>
          </ac:picMkLst>
        </pc:picChg>
        <pc:picChg chg="add mod ord">
          <ac:chgData name="Kubota Nichika" userId="S::kubota.n@lefixea.com::8fb0ef68-18aa-4d1b-b018-3b48622e93e2" providerId="AD" clId="Web-{F8E55A81-75D8-7D17-2AEE-B1C58D9651BB}" dt="2026-04-08T06:28:00.390" v="203"/>
          <ac:picMkLst>
            <pc:docMk/>
            <pc:sldMk cId="2174544927" sldId="3874"/>
            <ac:picMk id="17" creationId="{02693770-B880-B229-F45C-F270DC4B6342}"/>
          </ac:picMkLst>
        </pc:picChg>
        <pc:picChg chg="add mod ord modCrop">
          <ac:chgData name="Kubota Nichika" userId="S::kubota.n@lefixea.com::8fb0ef68-18aa-4d1b-b018-3b48622e93e2" providerId="AD" clId="Web-{F8E55A81-75D8-7D17-2AEE-B1C58D9651BB}" dt="2026-04-08T06:31:01.156" v="236"/>
          <ac:picMkLst>
            <pc:docMk/>
            <pc:sldMk cId="2174544927" sldId="3874"/>
            <ac:picMk id="18" creationId="{1A430EDB-6106-4BF9-E5FD-D04914087979}"/>
          </ac:picMkLst>
        </pc:picChg>
        <pc:picChg chg="mod">
          <ac:chgData name="Kubota Nichika" userId="S::kubota.n@lefixea.com::8fb0ef68-18aa-4d1b-b018-3b48622e93e2" providerId="AD" clId="Web-{F8E55A81-75D8-7D17-2AEE-B1C58D9651BB}" dt="2026-04-08T06:21:08.583" v="124" actId="1076"/>
          <ac:picMkLst>
            <pc:docMk/>
            <pc:sldMk cId="2174544927" sldId="3874"/>
            <ac:picMk id="26" creationId="{3CC8D88F-3E4A-03E1-65CF-9C7C6396CB99}"/>
          </ac:picMkLst>
        </pc:picChg>
        <pc:cxnChg chg="mod">
          <ac:chgData name="Kubota Nichika" userId="S::kubota.n@lefixea.com::8fb0ef68-18aa-4d1b-b018-3b48622e93e2" providerId="AD" clId="Web-{F8E55A81-75D8-7D17-2AEE-B1C58D9651BB}" dt="2026-04-08T06:22:31.054" v="144" actId="1076"/>
          <ac:cxnSpMkLst>
            <pc:docMk/>
            <pc:sldMk cId="2174544927" sldId="3874"/>
            <ac:cxnSpMk id="32" creationId="{E179B3A0-146D-1582-06B1-63A8F41E8504}"/>
          </ac:cxnSpMkLst>
        </pc:cxnChg>
        <pc:cxnChg chg="mod">
          <ac:chgData name="Kubota Nichika" userId="S::kubota.n@lefixea.com::8fb0ef68-18aa-4d1b-b018-3b48622e93e2" providerId="AD" clId="Web-{F8E55A81-75D8-7D17-2AEE-B1C58D9651BB}" dt="2026-04-08T06:22:31.054" v="144" actId="1076"/>
          <ac:cxnSpMkLst>
            <pc:docMk/>
            <pc:sldMk cId="2174544927" sldId="3874"/>
            <ac:cxnSpMk id="35" creationId="{7350B5D1-1A4E-29C8-2D41-1A926900F281}"/>
          </ac:cxnSpMkLst>
        </pc:cxnChg>
      </pc:sldChg>
      <pc:sldChg chg="addSp delSp modSp">
        <pc:chgData name="Kubota Nichika" userId="S::kubota.n@lefixea.com::8fb0ef68-18aa-4d1b-b018-3b48622e93e2" providerId="AD" clId="Web-{F8E55A81-75D8-7D17-2AEE-B1C58D9651BB}" dt="2026-04-08T07:04:28.669" v="446" actId="14100"/>
        <pc:sldMkLst>
          <pc:docMk/>
          <pc:sldMk cId="3241800747" sldId="3876"/>
        </pc:sldMkLst>
        <pc:spChg chg="mod ord">
          <ac:chgData name="Kubota Nichika" userId="S::kubota.n@lefixea.com::8fb0ef68-18aa-4d1b-b018-3b48622e93e2" providerId="AD" clId="Web-{F8E55A81-75D8-7D17-2AEE-B1C58D9651BB}" dt="2026-04-08T07:04:25.512" v="445" actId="1076"/>
          <ac:spMkLst>
            <pc:docMk/>
            <pc:sldMk cId="3241800747" sldId="3876"/>
            <ac:spMk id="7" creationId="{798FD92F-464F-BDD3-4CA4-471917875EC8}"/>
          </ac:spMkLst>
        </pc:spChg>
        <pc:spChg chg="mod ord">
          <ac:chgData name="Kubota Nichika" userId="S::kubota.n@lefixea.com::8fb0ef68-18aa-4d1b-b018-3b48622e93e2" providerId="AD" clId="Web-{F8E55A81-75D8-7D17-2AEE-B1C58D9651BB}" dt="2026-04-08T06:56:37.868" v="306" actId="1076"/>
          <ac:spMkLst>
            <pc:docMk/>
            <pc:sldMk cId="3241800747" sldId="3876"/>
            <ac:spMk id="8" creationId="{6F26E7B5-DE77-7E71-5CE5-4B6B13AF08CB}"/>
          </ac:spMkLst>
        </pc:spChg>
        <pc:spChg chg="mod ord">
          <ac:chgData name="Kubota Nichika" userId="S::kubota.n@lefixea.com::8fb0ef68-18aa-4d1b-b018-3b48622e93e2" providerId="AD" clId="Web-{F8E55A81-75D8-7D17-2AEE-B1C58D9651BB}" dt="2026-04-08T07:04:15.965" v="444" actId="1076"/>
          <ac:spMkLst>
            <pc:docMk/>
            <pc:sldMk cId="3241800747" sldId="3876"/>
            <ac:spMk id="9" creationId="{D7997A5D-D22B-D38F-E4D2-AA860D1B67FB}"/>
          </ac:spMkLst>
        </pc:spChg>
        <pc:spChg chg="ord">
          <ac:chgData name="Kubota Nichika" userId="S::kubota.n@lefixea.com::8fb0ef68-18aa-4d1b-b018-3b48622e93e2" providerId="AD" clId="Web-{F8E55A81-75D8-7D17-2AEE-B1C58D9651BB}" dt="2026-04-08T06:55:44.598" v="286"/>
          <ac:spMkLst>
            <pc:docMk/>
            <pc:sldMk cId="3241800747" sldId="3876"/>
            <ac:spMk id="10" creationId="{35AC9463-BF3F-171E-4970-04397E1ED542}"/>
          </ac:spMkLst>
        </pc:spChg>
        <pc:spChg chg="mod ord">
          <ac:chgData name="Kubota Nichika" userId="S::kubota.n@lefixea.com::8fb0ef68-18aa-4d1b-b018-3b48622e93e2" providerId="AD" clId="Web-{F8E55A81-75D8-7D17-2AEE-B1C58D9651BB}" dt="2026-04-08T06:55:59.850" v="294" actId="1076"/>
          <ac:spMkLst>
            <pc:docMk/>
            <pc:sldMk cId="3241800747" sldId="3876"/>
            <ac:spMk id="11" creationId="{30C7E4C4-0A03-ED4D-25DC-EEEA202DFFD7}"/>
          </ac:spMkLst>
        </pc:spChg>
        <pc:spChg chg="ord">
          <ac:chgData name="Kubota Nichika" userId="S::kubota.n@lefixea.com::8fb0ef68-18aa-4d1b-b018-3b48622e93e2" providerId="AD" clId="Web-{F8E55A81-75D8-7D17-2AEE-B1C58D9651BB}" dt="2026-04-08T07:03:20.026" v="368"/>
          <ac:spMkLst>
            <pc:docMk/>
            <pc:sldMk cId="3241800747" sldId="3876"/>
            <ac:spMk id="12" creationId="{FC1521F1-CB7E-2AC8-E790-EB12B62D7715}"/>
          </ac:spMkLst>
        </pc:spChg>
        <pc:picChg chg="mod">
          <ac:chgData name="Kubota Nichika" userId="S::kubota.n@lefixea.com::8fb0ef68-18aa-4d1b-b018-3b48622e93e2" providerId="AD" clId="Web-{F8E55A81-75D8-7D17-2AEE-B1C58D9651BB}" dt="2026-04-08T06:54:13.152" v="262" actId="1076"/>
          <ac:picMkLst>
            <pc:docMk/>
            <pc:sldMk cId="3241800747" sldId="3876"/>
            <ac:picMk id="2" creationId="{81DE8F61-8F92-F1EB-98CA-F1A0F978BBBD}"/>
          </ac:picMkLst>
        </pc:picChg>
        <pc:picChg chg="mod">
          <ac:chgData name="Kubota Nichika" userId="S::kubota.n@lefixea.com::8fb0ef68-18aa-4d1b-b018-3b48622e93e2" providerId="AD" clId="Web-{F8E55A81-75D8-7D17-2AEE-B1C58D9651BB}" dt="2026-04-08T07:02:49.666" v="346" actId="1076"/>
          <ac:picMkLst>
            <pc:docMk/>
            <pc:sldMk cId="3241800747" sldId="3876"/>
            <ac:picMk id="4" creationId="{2356E18B-FDA0-5A7A-A531-563D479B33D0}"/>
          </ac:picMkLst>
        </pc:picChg>
        <pc:picChg chg="add mod modCrop">
          <ac:chgData name="Kubota Nichika" userId="S::kubota.n@lefixea.com::8fb0ef68-18aa-4d1b-b018-3b48622e93e2" providerId="AD" clId="Web-{F8E55A81-75D8-7D17-2AEE-B1C58D9651BB}" dt="2026-04-08T06:55:23.143" v="276" actId="14100"/>
          <ac:picMkLst>
            <pc:docMk/>
            <pc:sldMk cId="3241800747" sldId="3876"/>
            <ac:picMk id="16" creationId="{D867257A-300C-90F4-F4AF-A2A83969042F}"/>
          </ac:picMkLst>
        </pc:picChg>
        <pc:picChg chg="add del">
          <ac:chgData name="Kubota Nichika" userId="S::kubota.n@lefixea.com::8fb0ef68-18aa-4d1b-b018-3b48622e93e2" providerId="AD" clId="Web-{F8E55A81-75D8-7D17-2AEE-B1C58D9651BB}" dt="2026-04-08T06:52:09.585" v="238"/>
          <ac:picMkLst>
            <pc:docMk/>
            <pc:sldMk cId="3241800747" sldId="3876"/>
            <ac:picMk id="17" creationId="{D79DA0D5-287E-32E8-4268-F1C395231220}"/>
          </ac:picMkLst>
        </pc:picChg>
        <pc:picChg chg="add mod modCrop">
          <ac:chgData name="Kubota Nichika" userId="S::kubota.n@lefixea.com::8fb0ef68-18aa-4d1b-b018-3b48622e93e2" providerId="AD" clId="Web-{F8E55A81-75D8-7D17-2AEE-B1C58D9651BB}" dt="2026-04-08T06:24:23.615" v="176" actId="1076"/>
          <ac:picMkLst>
            <pc:docMk/>
            <pc:sldMk cId="3241800747" sldId="3876"/>
            <ac:picMk id="19" creationId="{0F4C6C46-D372-BF72-EBFD-99BCC56A75DA}"/>
          </ac:picMkLst>
        </pc:picChg>
        <pc:picChg chg="add del">
          <ac:chgData name="Kubota Nichika" userId="S::kubota.n@lefixea.com::8fb0ef68-18aa-4d1b-b018-3b48622e93e2" providerId="AD" clId="Web-{F8E55A81-75D8-7D17-2AEE-B1C58D9651BB}" dt="2026-04-08T06:24:29.434" v="178"/>
          <ac:picMkLst>
            <pc:docMk/>
            <pc:sldMk cId="3241800747" sldId="3876"/>
            <ac:picMk id="22" creationId="{58D1FAD4-C6E4-3F17-3A7F-20C827DFE956}"/>
          </ac:picMkLst>
        </pc:picChg>
        <pc:picChg chg="add del mod modCrop">
          <ac:chgData name="Kubota Nichika" userId="S::kubota.n@lefixea.com::8fb0ef68-18aa-4d1b-b018-3b48622e93e2" providerId="AD" clId="Web-{F8E55A81-75D8-7D17-2AEE-B1C58D9651BB}" dt="2026-04-08T06:53:16.993" v="250"/>
          <ac:picMkLst>
            <pc:docMk/>
            <pc:sldMk cId="3241800747" sldId="3876"/>
            <ac:picMk id="22" creationId="{D3B9D149-C510-9C67-EF64-2510EF3175D3}"/>
          </ac:picMkLst>
        </pc:picChg>
        <pc:picChg chg="add mod modCrop">
          <ac:chgData name="Kubota Nichika" userId="S::kubota.n@lefixea.com::8fb0ef68-18aa-4d1b-b018-3b48622e93e2" providerId="AD" clId="Web-{F8E55A81-75D8-7D17-2AEE-B1C58D9651BB}" dt="2026-04-08T06:55:30.206" v="277" actId="1076"/>
          <ac:picMkLst>
            <pc:docMk/>
            <pc:sldMk cId="3241800747" sldId="3876"/>
            <ac:picMk id="23" creationId="{BE97A90F-9BF2-B578-3E6A-8F2BA2881FD6}"/>
          </ac:picMkLst>
        </pc:picChg>
        <pc:picChg chg="add mod ord modCrop">
          <ac:chgData name="Kubota Nichika" userId="S::kubota.n@lefixea.com::8fb0ef68-18aa-4d1b-b018-3b48622e93e2" providerId="AD" clId="Web-{F8E55A81-75D8-7D17-2AEE-B1C58D9651BB}" dt="2026-04-08T06:57:09.480" v="320" actId="1076"/>
          <ac:picMkLst>
            <pc:docMk/>
            <pc:sldMk cId="3241800747" sldId="3876"/>
            <ac:picMk id="25" creationId="{4F822A49-161D-8EFC-B417-BEE458B1259C}"/>
          </ac:picMkLst>
        </pc:picChg>
        <pc:picChg chg="add mod ord modCrop">
          <ac:chgData name="Kubota Nichika" userId="S::kubota.n@lefixea.com::8fb0ef68-18aa-4d1b-b018-3b48622e93e2" providerId="AD" clId="Web-{F8E55A81-75D8-7D17-2AEE-B1C58D9651BB}" dt="2026-04-08T07:00:21.130" v="330"/>
          <ac:picMkLst>
            <pc:docMk/>
            <pc:sldMk cId="3241800747" sldId="3876"/>
            <ac:picMk id="26" creationId="{E408968C-050E-6E64-7A56-F392C8783E08}"/>
          </ac:picMkLst>
        </pc:picChg>
        <pc:picChg chg="add mod ord modCrop">
          <ac:chgData name="Kubota Nichika" userId="S::kubota.n@lefixea.com::8fb0ef68-18aa-4d1b-b018-3b48622e93e2" providerId="AD" clId="Web-{F8E55A81-75D8-7D17-2AEE-B1C58D9651BB}" dt="2026-04-08T07:03:25.792" v="379"/>
          <ac:picMkLst>
            <pc:docMk/>
            <pc:sldMk cId="3241800747" sldId="3876"/>
            <ac:picMk id="27" creationId="{1DFEE37F-1221-9DC9-27EA-B79D4C5ECD13}"/>
          </ac:picMkLst>
        </pc:picChg>
        <pc:picChg chg="add mod ord modCrop">
          <ac:chgData name="Kubota Nichika" userId="S::kubota.n@lefixea.com::8fb0ef68-18aa-4d1b-b018-3b48622e93e2" providerId="AD" clId="Web-{F8E55A81-75D8-7D17-2AEE-B1C58D9651BB}" dt="2026-04-08T07:03:12.964" v="359"/>
          <ac:picMkLst>
            <pc:docMk/>
            <pc:sldMk cId="3241800747" sldId="3876"/>
            <ac:picMk id="28" creationId="{DB37D98C-1452-92E9-95F5-2948A6F1EBC9}"/>
          </ac:picMkLst>
        </pc:picChg>
        <pc:picChg chg="add mod ord">
          <ac:chgData name="Kubota Nichika" userId="S::kubota.n@lefixea.com::8fb0ef68-18aa-4d1b-b018-3b48622e93e2" providerId="AD" clId="Web-{F8E55A81-75D8-7D17-2AEE-B1C58D9651BB}" dt="2026-04-08T07:03:46.636" v="411"/>
          <ac:picMkLst>
            <pc:docMk/>
            <pc:sldMk cId="3241800747" sldId="3876"/>
            <ac:picMk id="29" creationId="{2AA1BA75-2519-5E53-0ECE-D14285BC8C61}"/>
          </ac:picMkLst>
        </pc:picChg>
        <pc:cxnChg chg="mod ord">
          <ac:chgData name="Kubota Nichika" userId="S::kubota.n@lefixea.com::8fb0ef68-18aa-4d1b-b018-3b48622e93e2" providerId="AD" clId="Web-{F8E55A81-75D8-7D17-2AEE-B1C58D9651BB}" dt="2026-04-08T07:04:28.669" v="446" actId="14100"/>
          <ac:cxnSpMkLst>
            <pc:docMk/>
            <pc:sldMk cId="3241800747" sldId="3876"/>
            <ac:cxnSpMk id="13" creationId="{865B5671-745A-0004-F2EC-AFECCB44F750}"/>
          </ac:cxnSpMkLst>
        </pc:cxnChg>
        <pc:cxnChg chg="mod">
          <ac:chgData name="Kubota Nichika" userId="S::kubota.n@lefixea.com::8fb0ef68-18aa-4d1b-b018-3b48622e93e2" providerId="AD" clId="Web-{F8E55A81-75D8-7D17-2AEE-B1C58D9651BB}" dt="2026-04-08T07:04:15.965" v="444" actId="1076"/>
          <ac:cxnSpMkLst>
            <pc:docMk/>
            <pc:sldMk cId="3241800747" sldId="3876"/>
            <ac:cxnSpMk id="15" creationId="{DFD6A060-8DB2-37F5-C127-B31CCBE8F408}"/>
          </ac:cxnSpMkLst>
        </pc:cxnChg>
        <pc:cxnChg chg="mod ord">
          <ac:chgData name="Kubota Nichika" userId="S::kubota.n@lefixea.com::8fb0ef68-18aa-4d1b-b018-3b48622e93e2" providerId="AD" clId="Web-{F8E55A81-75D8-7D17-2AEE-B1C58D9651BB}" dt="2026-04-08T06:56:07.366" v="297"/>
          <ac:cxnSpMkLst>
            <pc:docMk/>
            <pc:sldMk cId="3241800747" sldId="3876"/>
            <ac:cxnSpMk id="18" creationId="{F8A43CFA-3C91-0C30-3D9B-2379B206DCD1}"/>
          </ac:cxnSpMkLst>
        </pc:cxnChg>
      </pc:sldChg>
      <pc:sldChg chg="modSp">
        <pc:chgData name="Kubota Nichika" userId="S::kubota.n@lefixea.com::8fb0ef68-18aa-4d1b-b018-3b48622e93e2" providerId="AD" clId="Web-{F8E55A81-75D8-7D17-2AEE-B1C58D9651BB}" dt="2026-04-08T05:44:36.489" v="12" actId="1076"/>
        <pc:sldMkLst>
          <pc:docMk/>
          <pc:sldMk cId="1809512083" sldId="3880"/>
        </pc:sldMkLst>
        <pc:spChg chg="mod">
          <ac:chgData name="Kubota Nichika" userId="S::kubota.n@lefixea.com::8fb0ef68-18aa-4d1b-b018-3b48622e93e2" providerId="AD" clId="Web-{F8E55A81-75D8-7D17-2AEE-B1C58D9651BB}" dt="2026-04-08T05:44:15.863" v="7" actId="1076"/>
          <ac:spMkLst>
            <pc:docMk/>
            <pc:sldMk cId="1809512083" sldId="3880"/>
            <ac:spMk id="12" creationId="{7A286E28-385A-DB04-4C3A-45382E0D8556}"/>
          </ac:spMkLst>
        </pc:spChg>
        <pc:spChg chg="mod">
          <ac:chgData name="Kubota Nichika" userId="S::kubota.n@lefixea.com::8fb0ef68-18aa-4d1b-b018-3b48622e93e2" providerId="AD" clId="Web-{F8E55A81-75D8-7D17-2AEE-B1C58D9651BB}" dt="2026-04-08T05:44:28.426" v="9" actId="1076"/>
          <ac:spMkLst>
            <pc:docMk/>
            <pc:sldMk cId="1809512083" sldId="3880"/>
            <ac:spMk id="16" creationId="{AF9157D5-A8D0-9840-DC39-3E799C6BD19C}"/>
          </ac:spMkLst>
        </pc:spChg>
        <pc:picChg chg="mod modCrop">
          <ac:chgData name="Kubota Nichika" userId="S::kubota.n@lefixea.com::8fb0ef68-18aa-4d1b-b018-3b48622e93e2" providerId="AD" clId="Web-{F8E55A81-75D8-7D17-2AEE-B1C58D9651BB}" dt="2026-04-08T05:44:13.457" v="6" actId="1076"/>
          <ac:picMkLst>
            <pc:docMk/>
            <pc:sldMk cId="1809512083" sldId="3880"/>
            <ac:picMk id="10" creationId="{C0AF773C-4A72-4317-9F07-2426C6F22DD0}"/>
          </ac:picMkLst>
        </pc:picChg>
        <pc:picChg chg="mod">
          <ac:chgData name="Kubota Nichika" userId="S::kubota.n@lefixea.com::8fb0ef68-18aa-4d1b-b018-3b48622e93e2" providerId="AD" clId="Web-{F8E55A81-75D8-7D17-2AEE-B1C58D9651BB}" dt="2026-04-08T05:44:36.489" v="12" actId="1076"/>
          <ac:picMkLst>
            <pc:docMk/>
            <pc:sldMk cId="1809512083" sldId="3880"/>
            <ac:picMk id="15" creationId="{24B573E7-899B-F5F0-691F-C4308296B06D}"/>
          </ac:picMkLst>
        </pc:picChg>
      </pc:sldChg>
      <pc:sldChg chg="modSp">
        <pc:chgData name="Kubota Nichika" userId="S::kubota.n@lefixea.com::8fb0ef68-18aa-4d1b-b018-3b48622e93e2" providerId="AD" clId="Web-{F8E55A81-75D8-7D17-2AEE-B1C58D9651BB}" dt="2026-04-08T07:14:41.851" v="481" actId="14100"/>
        <pc:sldMkLst>
          <pc:docMk/>
          <pc:sldMk cId="485691720" sldId="3881"/>
        </pc:sldMkLst>
        <pc:picChg chg="mod">
          <ac:chgData name="Kubota Nichika" userId="S::kubota.n@lefixea.com::8fb0ef68-18aa-4d1b-b018-3b48622e93e2" providerId="AD" clId="Web-{F8E55A81-75D8-7D17-2AEE-B1C58D9651BB}" dt="2026-04-08T07:14:41.851" v="481" actId="14100"/>
          <ac:picMkLst>
            <pc:docMk/>
            <pc:sldMk cId="485691720" sldId="3881"/>
            <ac:picMk id="2" creationId="{BF49621B-98BC-1537-BBD1-CE762610D6AE}"/>
          </ac:picMkLst>
        </pc:picChg>
      </pc:sldChg>
      <pc:sldChg chg="modSp">
        <pc:chgData name="Kubota Nichika" userId="S::kubota.n@lefixea.com::8fb0ef68-18aa-4d1b-b018-3b48622e93e2" providerId="AD" clId="Web-{F8E55A81-75D8-7D17-2AEE-B1C58D9651BB}" dt="2026-04-08T07:17:14.250" v="492" actId="1076"/>
        <pc:sldMkLst>
          <pc:docMk/>
          <pc:sldMk cId="3439983282" sldId="3883"/>
        </pc:sldMkLst>
        <pc:spChg chg="mod">
          <ac:chgData name="Kubota Nichika" userId="S::kubota.n@lefixea.com::8fb0ef68-18aa-4d1b-b018-3b48622e93e2" providerId="AD" clId="Web-{F8E55A81-75D8-7D17-2AEE-B1C58D9651BB}" dt="2026-04-08T07:17:14.250" v="492" actId="1076"/>
          <ac:spMkLst>
            <pc:docMk/>
            <pc:sldMk cId="3439983282" sldId="3883"/>
            <ac:spMk id="7" creationId="{D6FE2489-3CFB-E3B0-AA1A-339D465F333F}"/>
          </ac:spMkLst>
        </pc:spChg>
        <pc:picChg chg="mod">
          <ac:chgData name="Kubota Nichika" userId="S::kubota.n@lefixea.com::8fb0ef68-18aa-4d1b-b018-3b48622e93e2" providerId="AD" clId="Web-{F8E55A81-75D8-7D17-2AEE-B1C58D9651BB}" dt="2026-04-08T07:17:10.843" v="491"/>
          <ac:picMkLst>
            <pc:docMk/>
            <pc:sldMk cId="3439983282" sldId="3883"/>
            <ac:picMk id="2" creationId="{8F92184B-4AF8-02C9-FB72-8FFBCB2908D8}"/>
          </ac:picMkLst>
        </pc:picChg>
      </pc:sldChg>
      <pc:sldChg chg="modSp">
        <pc:chgData name="Kubota Nichika" userId="S::kubota.n@lefixea.com::8fb0ef68-18aa-4d1b-b018-3b48622e93e2" providerId="AD" clId="Web-{F8E55A81-75D8-7D17-2AEE-B1C58D9651BB}" dt="2026-04-08T05:59:34.736" v="23" actId="14100"/>
        <pc:sldMkLst>
          <pc:docMk/>
          <pc:sldMk cId="2863347708" sldId="3886"/>
        </pc:sldMkLst>
        <pc:spChg chg="mod">
          <ac:chgData name="Kubota Nichika" userId="S::kubota.n@lefixea.com::8fb0ef68-18aa-4d1b-b018-3b48622e93e2" providerId="AD" clId="Web-{F8E55A81-75D8-7D17-2AEE-B1C58D9651BB}" dt="2026-04-08T05:59:34.736" v="23" actId="14100"/>
          <ac:spMkLst>
            <pc:docMk/>
            <pc:sldMk cId="2863347708" sldId="3886"/>
            <ac:spMk id="6" creationId="{EEDDB650-BB3E-F0A3-B0AF-944AF7737FDD}"/>
          </ac:spMkLst>
        </pc:spChg>
        <pc:spChg chg="mod">
          <ac:chgData name="Kubota Nichika" userId="S::kubota.n@lefixea.com::8fb0ef68-18aa-4d1b-b018-3b48622e93e2" providerId="AD" clId="Web-{F8E55A81-75D8-7D17-2AEE-B1C58D9651BB}" dt="2026-04-08T05:59:30.923" v="21" actId="14100"/>
          <ac:spMkLst>
            <pc:docMk/>
            <pc:sldMk cId="2863347708" sldId="3886"/>
            <ac:spMk id="17" creationId="{78B8F90C-15F7-CF85-DEA9-0F5BB1B3BFCC}"/>
          </ac:spMkLst>
        </pc:spChg>
        <pc:picChg chg="mod">
          <ac:chgData name="Kubota Nichika" userId="S::kubota.n@lefixea.com::8fb0ef68-18aa-4d1b-b018-3b48622e93e2" providerId="AD" clId="Web-{F8E55A81-75D8-7D17-2AEE-B1C58D9651BB}" dt="2026-04-08T05:59:26.141" v="19" actId="14100"/>
          <ac:picMkLst>
            <pc:docMk/>
            <pc:sldMk cId="2863347708" sldId="3886"/>
            <ac:picMk id="2" creationId="{BEC10140-5418-824A-292F-60BA90EABC7E}"/>
          </ac:picMkLst>
        </pc:picChg>
      </pc:sldChg>
      <pc:sldChg chg="modSp">
        <pc:chgData name="Kubota Nichika" userId="S::kubota.n@lefixea.com::8fb0ef68-18aa-4d1b-b018-3b48622e93e2" providerId="AD" clId="Web-{F8E55A81-75D8-7D17-2AEE-B1C58D9651BB}" dt="2026-04-08T07:14:59.352" v="483" actId="1076"/>
        <pc:sldMkLst>
          <pc:docMk/>
          <pc:sldMk cId="269662093" sldId="3917"/>
        </pc:sldMkLst>
        <pc:spChg chg="mod">
          <ac:chgData name="Kubota Nichika" userId="S::kubota.n@lefixea.com::8fb0ef68-18aa-4d1b-b018-3b48622e93e2" providerId="AD" clId="Web-{F8E55A81-75D8-7D17-2AEE-B1C58D9651BB}" dt="2026-04-08T07:14:59.352" v="483" actId="1076"/>
          <ac:spMkLst>
            <pc:docMk/>
            <pc:sldMk cId="269662093" sldId="3917"/>
            <ac:spMk id="6" creationId="{2C6C1C85-AD22-20AB-5011-69B7C6236C3B}"/>
          </ac:spMkLst>
        </pc:spChg>
        <pc:picChg chg="mod">
          <ac:chgData name="Kubota Nichika" userId="S::kubota.n@lefixea.com::8fb0ef68-18aa-4d1b-b018-3b48622e93e2" providerId="AD" clId="Web-{F8E55A81-75D8-7D17-2AEE-B1C58D9651BB}" dt="2026-04-08T07:14:55.837" v="482"/>
          <ac:picMkLst>
            <pc:docMk/>
            <pc:sldMk cId="269662093" sldId="3917"/>
            <ac:picMk id="4" creationId="{0179C332-E6B7-5066-D7C0-E769CF26F6CE}"/>
          </ac:picMkLst>
        </pc:picChg>
      </pc:sldChg>
      <pc:sldChg chg="modSp">
        <pc:chgData name="Kubota Nichika" userId="S::kubota.n@lefixea.com::8fb0ef68-18aa-4d1b-b018-3b48622e93e2" providerId="AD" clId="Web-{F8E55A81-75D8-7D17-2AEE-B1C58D9651BB}" dt="2026-04-08T07:15:23.932" v="487" actId="14100"/>
        <pc:sldMkLst>
          <pc:docMk/>
          <pc:sldMk cId="975578509" sldId="3918"/>
        </pc:sldMkLst>
        <pc:spChg chg="mod">
          <ac:chgData name="Kubota Nichika" userId="S::kubota.n@lefixea.com::8fb0ef68-18aa-4d1b-b018-3b48622e93e2" providerId="AD" clId="Web-{F8E55A81-75D8-7D17-2AEE-B1C58D9651BB}" dt="2026-04-08T07:15:23.932" v="487" actId="14100"/>
          <ac:spMkLst>
            <pc:docMk/>
            <pc:sldMk cId="975578509" sldId="3918"/>
            <ac:spMk id="6" creationId="{57A747FE-15DB-5913-C8DE-9260E03BAE82}"/>
          </ac:spMkLst>
        </pc:spChg>
        <pc:picChg chg="mod">
          <ac:chgData name="Kubota Nichika" userId="S::kubota.n@lefixea.com::8fb0ef68-18aa-4d1b-b018-3b48622e93e2" providerId="AD" clId="Web-{F8E55A81-75D8-7D17-2AEE-B1C58D9651BB}" dt="2026-04-08T07:15:18.916" v="485" actId="1076"/>
          <ac:picMkLst>
            <pc:docMk/>
            <pc:sldMk cId="975578509" sldId="3918"/>
            <ac:picMk id="2" creationId="{92EDE392-11E6-5BB9-EAF5-42CB7E913546}"/>
          </ac:picMkLst>
        </pc:picChg>
      </pc:sldChg>
      <pc:sldChg chg="modSp">
        <pc:chgData name="Kubota Nichika" userId="S::kubota.n@lefixea.com::8fb0ef68-18aa-4d1b-b018-3b48622e93e2" providerId="AD" clId="Web-{F8E55A81-75D8-7D17-2AEE-B1C58D9651BB}" dt="2026-04-08T05:55:05.507" v="14" actId="1076"/>
        <pc:sldMkLst>
          <pc:docMk/>
          <pc:sldMk cId="222103963" sldId="3919"/>
        </pc:sldMkLst>
        <pc:spChg chg="mod">
          <ac:chgData name="Kubota Nichika" userId="S::kubota.n@lefixea.com::8fb0ef68-18aa-4d1b-b018-3b48622e93e2" providerId="AD" clId="Web-{F8E55A81-75D8-7D17-2AEE-B1C58D9651BB}" dt="2026-04-08T05:55:05.507" v="14" actId="1076"/>
          <ac:spMkLst>
            <pc:docMk/>
            <pc:sldMk cId="222103963" sldId="3919"/>
            <ac:spMk id="7" creationId="{DAE80BCD-78D8-E065-CAA9-E353C26E2363}"/>
          </ac:spMkLst>
        </pc:spChg>
        <pc:picChg chg="mod">
          <ac:chgData name="Kubota Nichika" userId="S::kubota.n@lefixea.com::8fb0ef68-18aa-4d1b-b018-3b48622e93e2" providerId="AD" clId="Web-{F8E55A81-75D8-7D17-2AEE-B1C58D9651BB}" dt="2026-04-08T05:54:58.694" v="13"/>
          <ac:picMkLst>
            <pc:docMk/>
            <pc:sldMk cId="222103963" sldId="3919"/>
            <ac:picMk id="4" creationId="{210BF060-B081-4713-2D2D-62EB7D082B95}"/>
          </ac:picMkLst>
        </pc:picChg>
      </pc:sldChg>
      <pc:sldChg chg="modSp">
        <pc:chgData name="Kubota Nichika" userId="S::kubota.n@lefixea.com::8fb0ef68-18aa-4d1b-b018-3b48622e93e2" providerId="AD" clId="Web-{F8E55A81-75D8-7D17-2AEE-B1C58D9651BB}" dt="2026-04-08T06:04:47.158" v="27" actId="1076"/>
        <pc:sldMkLst>
          <pc:docMk/>
          <pc:sldMk cId="3597677398" sldId="3921"/>
        </pc:sldMkLst>
        <pc:spChg chg="mod">
          <ac:chgData name="Kubota Nichika" userId="S::kubota.n@lefixea.com::8fb0ef68-18aa-4d1b-b018-3b48622e93e2" providerId="AD" clId="Web-{F8E55A81-75D8-7D17-2AEE-B1C58D9651BB}" dt="2026-04-08T06:04:47.158" v="27" actId="1076"/>
          <ac:spMkLst>
            <pc:docMk/>
            <pc:sldMk cId="3597677398" sldId="3921"/>
            <ac:spMk id="7" creationId="{3AFC533D-8463-AF5C-F345-2358754D07B6}"/>
          </ac:spMkLst>
        </pc:spChg>
        <pc:picChg chg="mod">
          <ac:chgData name="Kubota Nichika" userId="S::kubota.n@lefixea.com::8fb0ef68-18aa-4d1b-b018-3b48622e93e2" providerId="AD" clId="Web-{F8E55A81-75D8-7D17-2AEE-B1C58D9651BB}" dt="2026-04-08T06:04:44.752" v="26" actId="14100"/>
          <ac:picMkLst>
            <pc:docMk/>
            <pc:sldMk cId="3597677398" sldId="3921"/>
            <ac:picMk id="4" creationId="{0F71F2B6-80FC-087D-9AD2-1C929F44C2DD}"/>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C80DEDF-D1F8-3044-A2EA-37054BB3A39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F969C2DA-CA2D-2B4A-B2C3-0AA1418E310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74BB5DB-5A56-CF43-B5BB-571F07623099}" type="datetimeFigureOut">
              <a:rPr kumimoji="1" lang="ja-JP" altLang="en-US" smtClean="0"/>
              <a:t>2026/4/8</a:t>
            </a:fld>
            <a:endParaRPr kumimoji="1" lang="ja-JP" altLang="en-US"/>
          </a:p>
        </p:txBody>
      </p:sp>
      <p:sp>
        <p:nvSpPr>
          <p:cNvPr id="4" name="フッター プレースホルダー 3">
            <a:extLst>
              <a:ext uri="{FF2B5EF4-FFF2-40B4-BE49-F238E27FC236}">
                <a16:creationId xmlns:a16="http://schemas.microsoft.com/office/drawing/2014/main" id="{0FEC747E-38EF-3041-9BC5-9265BB39595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8672EDE-2C0B-ED4C-A761-030583F354D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75533C-D1F7-564E-9E19-9D5E53E146DB}" type="slidenum">
              <a:rPr kumimoji="1" lang="ja-JP" altLang="en-US" smtClean="0"/>
              <a:t>‹#›</a:t>
            </a:fld>
            <a:endParaRPr kumimoji="1" lang="ja-JP" altLang="en-US"/>
          </a:p>
        </p:txBody>
      </p:sp>
    </p:spTree>
    <p:extLst>
      <p:ext uri="{BB962C8B-B14F-4D97-AF65-F5344CB8AC3E}">
        <p14:creationId xmlns:p14="http://schemas.microsoft.com/office/powerpoint/2010/main" val="1345790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0C60E9-5877-444C-84B7-37D16D2A8C27}" type="datetimeFigureOut">
              <a:rPr lang="en-GB" smtClean="0"/>
              <a:t>08/04/2026</a:t>
            </a:fld>
            <a:endParaRPr lang="en-GB"/>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2CEC724-DA86-49C3-9B67-CFEF5279C41D}" type="slidenum">
              <a:rPr lang="en-GB" smtClean="0"/>
              <a:t>‹#›</a:t>
            </a:fld>
            <a:endParaRPr lang="en-GB"/>
          </a:p>
        </p:txBody>
      </p:sp>
    </p:spTree>
    <p:extLst>
      <p:ext uri="{BB962C8B-B14F-4D97-AF65-F5344CB8AC3E}">
        <p14:creationId xmlns:p14="http://schemas.microsoft.com/office/powerpoint/2010/main" val="2834378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2</a:t>
            </a:fld>
            <a:endParaRPr lang="en-GB"/>
          </a:p>
        </p:txBody>
      </p:sp>
    </p:spTree>
    <p:extLst>
      <p:ext uri="{BB962C8B-B14F-4D97-AF65-F5344CB8AC3E}">
        <p14:creationId xmlns:p14="http://schemas.microsoft.com/office/powerpoint/2010/main" val="2198049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11</a:t>
            </a:fld>
            <a:endParaRPr lang="en-GB"/>
          </a:p>
        </p:txBody>
      </p:sp>
    </p:spTree>
    <p:extLst>
      <p:ext uri="{BB962C8B-B14F-4D97-AF65-F5344CB8AC3E}">
        <p14:creationId xmlns:p14="http://schemas.microsoft.com/office/powerpoint/2010/main" val="728435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12</a:t>
            </a:fld>
            <a:endParaRPr lang="en-GB"/>
          </a:p>
        </p:txBody>
      </p:sp>
    </p:spTree>
    <p:extLst>
      <p:ext uri="{BB962C8B-B14F-4D97-AF65-F5344CB8AC3E}">
        <p14:creationId xmlns:p14="http://schemas.microsoft.com/office/powerpoint/2010/main" val="2479175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13</a:t>
            </a:fld>
            <a:endParaRPr lang="en-GB"/>
          </a:p>
        </p:txBody>
      </p:sp>
    </p:spTree>
    <p:extLst>
      <p:ext uri="{BB962C8B-B14F-4D97-AF65-F5344CB8AC3E}">
        <p14:creationId xmlns:p14="http://schemas.microsoft.com/office/powerpoint/2010/main" val="2795108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3</a:t>
            </a:fld>
            <a:endParaRPr lang="en-GB"/>
          </a:p>
        </p:txBody>
      </p:sp>
    </p:spTree>
    <p:extLst>
      <p:ext uri="{BB962C8B-B14F-4D97-AF65-F5344CB8AC3E}">
        <p14:creationId xmlns:p14="http://schemas.microsoft.com/office/powerpoint/2010/main" val="450631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1AB73-4B31-B874-BED0-05C7E15E45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2C884-F6C0-7963-A962-2AB9EAEBD838}"/>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E2460ACC-0D3B-1F4A-3D0B-9F7BF39AAD9B}"/>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EFA4F07D-05A5-CB79-2AEF-E91967F128D2}"/>
              </a:ext>
            </a:extLst>
          </p:cNvPr>
          <p:cNvSpPr>
            <a:spLocks noGrp="1"/>
          </p:cNvSpPr>
          <p:nvPr>
            <p:ph type="sldNum" sz="quarter" idx="10"/>
          </p:nvPr>
        </p:nvSpPr>
        <p:spPr/>
        <p:txBody>
          <a:bodyPr/>
          <a:lstStyle/>
          <a:p>
            <a:fld id="{92CEC724-DA86-49C3-9B67-CFEF5279C41D}" type="slidenum">
              <a:rPr lang="en-GB" smtClean="0"/>
              <a:t>4</a:t>
            </a:fld>
            <a:endParaRPr lang="en-GB"/>
          </a:p>
        </p:txBody>
      </p:sp>
    </p:spTree>
    <p:extLst>
      <p:ext uri="{BB962C8B-B14F-4D97-AF65-F5344CB8AC3E}">
        <p14:creationId xmlns:p14="http://schemas.microsoft.com/office/powerpoint/2010/main" val="3733315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435C47-F6DC-BAEC-6157-8CC2F781E6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803298-0E0D-02B7-137F-911A1B773A53}"/>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FCDC0656-E490-D850-D441-11D743145764}"/>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F8F07C68-369A-42F2-1E43-13BC6E94D71C}"/>
              </a:ext>
            </a:extLst>
          </p:cNvPr>
          <p:cNvSpPr>
            <a:spLocks noGrp="1"/>
          </p:cNvSpPr>
          <p:nvPr>
            <p:ph type="sldNum" sz="quarter" idx="10"/>
          </p:nvPr>
        </p:nvSpPr>
        <p:spPr/>
        <p:txBody>
          <a:bodyPr/>
          <a:lstStyle/>
          <a:p>
            <a:fld id="{92CEC724-DA86-49C3-9B67-CFEF5279C41D}" type="slidenum">
              <a:rPr lang="en-GB" smtClean="0"/>
              <a:t>5</a:t>
            </a:fld>
            <a:endParaRPr lang="en-GB"/>
          </a:p>
        </p:txBody>
      </p:sp>
    </p:spTree>
    <p:extLst>
      <p:ext uri="{BB962C8B-B14F-4D97-AF65-F5344CB8AC3E}">
        <p14:creationId xmlns:p14="http://schemas.microsoft.com/office/powerpoint/2010/main" val="2173391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A4DFA-9133-8066-36FF-4D85A47217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9DB961-2FDD-7BD6-D817-311CE6671144}"/>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DFDC83CE-321F-9D1F-6221-33AF89436628}"/>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4448320C-7487-0302-1376-EF7C5EE98319}"/>
              </a:ext>
            </a:extLst>
          </p:cNvPr>
          <p:cNvSpPr>
            <a:spLocks noGrp="1"/>
          </p:cNvSpPr>
          <p:nvPr>
            <p:ph type="sldNum" sz="quarter" idx="10"/>
          </p:nvPr>
        </p:nvSpPr>
        <p:spPr/>
        <p:txBody>
          <a:bodyPr/>
          <a:lstStyle/>
          <a:p>
            <a:fld id="{92CEC724-DA86-49C3-9B67-CFEF5279C41D}" type="slidenum">
              <a:rPr lang="en-GB" smtClean="0"/>
              <a:t>6</a:t>
            </a:fld>
            <a:endParaRPr lang="en-GB"/>
          </a:p>
        </p:txBody>
      </p:sp>
    </p:spTree>
    <p:extLst>
      <p:ext uri="{BB962C8B-B14F-4D97-AF65-F5344CB8AC3E}">
        <p14:creationId xmlns:p14="http://schemas.microsoft.com/office/powerpoint/2010/main" val="11702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7</a:t>
            </a:fld>
            <a:endParaRPr lang="en-GB"/>
          </a:p>
        </p:txBody>
      </p:sp>
    </p:spTree>
    <p:extLst>
      <p:ext uri="{BB962C8B-B14F-4D97-AF65-F5344CB8AC3E}">
        <p14:creationId xmlns:p14="http://schemas.microsoft.com/office/powerpoint/2010/main" val="381265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8</a:t>
            </a:fld>
            <a:endParaRPr lang="en-GB"/>
          </a:p>
        </p:txBody>
      </p:sp>
    </p:spTree>
    <p:extLst>
      <p:ext uri="{BB962C8B-B14F-4D97-AF65-F5344CB8AC3E}">
        <p14:creationId xmlns:p14="http://schemas.microsoft.com/office/powerpoint/2010/main" val="1801902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1436C-2C4D-A00B-8B5F-C3F49031B9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DD2C7D-DB5E-3B10-E224-B7553A7FB8F4}"/>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3D091E98-C933-85F4-8788-AC25316C2FE5}"/>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61CBA75F-6D73-EB35-D13A-4096453691E7}"/>
              </a:ext>
            </a:extLst>
          </p:cNvPr>
          <p:cNvSpPr>
            <a:spLocks noGrp="1"/>
          </p:cNvSpPr>
          <p:nvPr>
            <p:ph type="sldNum" sz="quarter" idx="10"/>
          </p:nvPr>
        </p:nvSpPr>
        <p:spPr/>
        <p:txBody>
          <a:bodyPr/>
          <a:lstStyle/>
          <a:p>
            <a:fld id="{92CEC724-DA86-49C3-9B67-CFEF5279C41D}" type="slidenum">
              <a:rPr lang="en-GB" smtClean="0"/>
              <a:t>9</a:t>
            </a:fld>
            <a:endParaRPr lang="en-GB"/>
          </a:p>
        </p:txBody>
      </p:sp>
    </p:spTree>
    <p:extLst>
      <p:ext uri="{BB962C8B-B14F-4D97-AF65-F5344CB8AC3E}">
        <p14:creationId xmlns:p14="http://schemas.microsoft.com/office/powerpoint/2010/main" val="2079948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10</a:t>
            </a:fld>
            <a:endParaRPr lang="en-GB"/>
          </a:p>
        </p:txBody>
      </p:sp>
    </p:spTree>
    <p:extLst>
      <p:ext uri="{BB962C8B-B14F-4D97-AF65-F5344CB8AC3E}">
        <p14:creationId xmlns:p14="http://schemas.microsoft.com/office/powerpoint/2010/main" val="40847590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600" y="1416424"/>
            <a:ext cx="9144000" cy="492443"/>
          </a:xfrm>
        </p:spPr>
        <p:txBody>
          <a:bodyPr lIns="0" tIns="0" rIns="0" bIns="0" anchor="t">
            <a:spAutoFit/>
          </a:bodyPr>
          <a:lstStyle>
            <a:lvl1pPr algn="l">
              <a:defRPr sz="3200" b="1">
                <a:latin typeface="Arial" pitchFamily="34" charset="0"/>
                <a:cs typeface="Arial" pitchFamily="34" charset="0"/>
              </a:defRPr>
            </a:lvl1pPr>
          </a:lstStyle>
          <a:p>
            <a:r>
              <a:rPr lang="en-US"/>
              <a:t>Title inserted here</a:t>
            </a:r>
            <a:endParaRPr lang="en-GB"/>
          </a:p>
        </p:txBody>
      </p:sp>
      <p:sp>
        <p:nvSpPr>
          <p:cNvPr id="3" name="Subtitle 2"/>
          <p:cNvSpPr>
            <a:spLocks noGrp="1"/>
          </p:cNvSpPr>
          <p:nvPr>
            <p:ph type="subTitle" idx="1" hasCustomPrompt="1"/>
          </p:nvPr>
        </p:nvSpPr>
        <p:spPr>
          <a:xfrm>
            <a:off x="381600" y="1927865"/>
            <a:ext cx="9144000" cy="276999"/>
          </a:xfrm>
        </p:spPr>
        <p:txBody>
          <a:bodyPr lIns="0" tIns="0" rIns="0" bIns="0">
            <a:spAutoFit/>
          </a:bodyPr>
          <a:lstStyle>
            <a:lvl1pPr marL="0" indent="0" algn="l">
              <a:buNone/>
              <a:defRPr sz="1800">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and date inserted here</a:t>
            </a:r>
            <a:endParaRPr lang="en-GB"/>
          </a:p>
        </p:txBody>
      </p:sp>
      <p:sp>
        <p:nvSpPr>
          <p:cNvPr id="5" name="Text Placeholder 4"/>
          <p:cNvSpPr>
            <a:spLocks noGrp="1"/>
          </p:cNvSpPr>
          <p:nvPr>
            <p:ph type="body" sz="quarter" idx="10" hasCustomPrompt="1"/>
          </p:nvPr>
        </p:nvSpPr>
        <p:spPr>
          <a:xfrm>
            <a:off x="382588" y="5446800"/>
            <a:ext cx="1789200" cy="504000"/>
          </a:xfrm>
        </p:spPr>
        <p:txBody>
          <a:bodyPr lIns="0" tIns="0" rIns="0" bIns="0"/>
          <a:lstStyle>
            <a:lvl1pPr>
              <a:spcBef>
                <a:spcPts val="0"/>
              </a:spcBef>
              <a:defRPr sz="1100" b="1"/>
            </a:lvl1pPr>
            <a:lvl2pPr>
              <a:defRPr sz="1100" b="1"/>
            </a:lvl2pPr>
            <a:lvl3pPr>
              <a:defRPr sz="1100" b="1"/>
            </a:lvl3pPr>
            <a:lvl4pPr>
              <a:defRPr sz="1100" b="1"/>
            </a:lvl4pPr>
            <a:lvl5pPr>
              <a:defRPr sz="1100" b="1"/>
            </a:lvl5pPr>
          </a:lstStyle>
          <a:p>
            <a:pPr lvl="0"/>
            <a:r>
              <a:rPr lang="en-US"/>
              <a:t>Presentation/Report to Client Name</a:t>
            </a:r>
          </a:p>
        </p:txBody>
      </p:sp>
      <p:pic>
        <p:nvPicPr>
          <p:cNvPr id="6" name="図 5">
            <a:extLst>
              <a:ext uri="{FF2B5EF4-FFF2-40B4-BE49-F238E27FC236}">
                <a16:creationId xmlns:a16="http://schemas.microsoft.com/office/drawing/2014/main" id="{6CFC04F5-9567-7444-870C-EF9F73B1C2F9}"/>
              </a:ext>
            </a:extLst>
          </p:cNvPr>
          <p:cNvPicPr>
            <a:picLocks noChangeAspect="1"/>
          </p:cNvPicPr>
          <p:nvPr userDrawn="1"/>
        </p:nvPicPr>
        <p:blipFill>
          <a:blip r:embed="rId2"/>
          <a:stretch>
            <a:fillRect/>
          </a:stretch>
        </p:blipFill>
        <p:spPr>
          <a:xfrm>
            <a:off x="6105127" y="4725144"/>
            <a:ext cx="1617408" cy="432000"/>
          </a:xfrm>
          <a:prstGeom prst="rect">
            <a:avLst/>
          </a:prstGeom>
        </p:spPr>
      </p:pic>
      <p:sp>
        <p:nvSpPr>
          <p:cNvPr id="7" name="テキスト ボックス 6">
            <a:extLst>
              <a:ext uri="{FF2B5EF4-FFF2-40B4-BE49-F238E27FC236}">
                <a16:creationId xmlns:a16="http://schemas.microsoft.com/office/drawing/2014/main" id="{90BEA0FF-0E51-1B44-8C45-8FB387FB4228}"/>
              </a:ext>
            </a:extLst>
          </p:cNvPr>
          <p:cNvSpPr txBox="1"/>
          <p:nvPr userDrawn="1"/>
        </p:nvSpPr>
        <p:spPr>
          <a:xfrm>
            <a:off x="6609185" y="5301208"/>
            <a:ext cx="1822935" cy="738664"/>
          </a:xfrm>
          <a:prstGeom prst="rect">
            <a:avLst/>
          </a:prstGeom>
          <a:ln w="12700">
            <a:noFill/>
          </a:ln>
        </p:spPr>
        <p:txBody>
          <a:bodyPr wrap="square" rtlCol="0">
            <a:spAutoFit/>
          </a:bodyPr>
          <a:lstStyle/>
          <a:p>
            <a:r>
              <a:rPr kumimoji="1" lang="ja-JP" altLang="en-US" sz="1050">
                <a:solidFill>
                  <a:srgbClr val="000000"/>
                </a:solidFill>
                <a:latin typeface="Arial" pitchFamily="34" charset="0"/>
                <a:cs typeface="Arial" pitchFamily="34" charset="0"/>
              </a:rPr>
              <a:t>六本木オフィス：</a:t>
            </a:r>
            <a:endParaRPr kumimoji="1" lang="en-US" altLang="ja-JP" sz="1050">
              <a:solidFill>
                <a:srgbClr val="000000"/>
              </a:solidFill>
              <a:latin typeface="Arial" pitchFamily="34" charset="0"/>
              <a:cs typeface="Arial" pitchFamily="34" charset="0"/>
            </a:endParaRPr>
          </a:p>
          <a:p>
            <a:r>
              <a:rPr kumimoji="1" lang="ja-JP" altLang="en-US" sz="1050">
                <a:solidFill>
                  <a:srgbClr val="000000"/>
                </a:solidFill>
                <a:latin typeface="Arial" pitchFamily="34" charset="0"/>
                <a:cs typeface="Arial" pitchFamily="34" charset="0"/>
              </a:rPr>
              <a:t>〒</a:t>
            </a:r>
            <a:r>
              <a:rPr kumimoji="1" lang="en-US" altLang="ja-JP" sz="1050">
                <a:solidFill>
                  <a:srgbClr val="000000"/>
                </a:solidFill>
                <a:latin typeface="Arial" pitchFamily="34" charset="0"/>
                <a:cs typeface="Arial" pitchFamily="34" charset="0"/>
              </a:rPr>
              <a:t>106-0032</a:t>
            </a:r>
          </a:p>
          <a:p>
            <a:r>
              <a:rPr kumimoji="1" lang="ja-JP" altLang="en-US" sz="1050">
                <a:solidFill>
                  <a:srgbClr val="000000"/>
                </a:solidFill>
                <a:latin typeface="Arial" pitchFamily="34" charset="0"/>
                <a:cs typeface="Arial" pitchFamily="34" charset="0"/>
              </a:rPr>
              <a:t>東京都 港区 六本木</a:t>
            </a:r>
            <a:br>
              <a:rPr kumimoji="1" lang="en-US" altLang="ja-JP" sz="1050">
                <a:solidFill>
                  <a:srgbClr val="000000"/>
                </a:solidFill>
                <a:latin typeface="Arial" pitchFamily="34" charset="0"/>
                <a:cs typeface="Arial" pitchFamily="34" charset="0"/>
              </a:rPr>
            </a:br>
            <a:r>
              <a:rPr kumimoji="1" lang="en-US" altLang="ja-JP" sz="1050">
                <a:solidFill>
                  <a:srgbClr val="000000"/>
                </a:solidFill>
                <a:latin typeface="Arial" pitchFamily="34" charset="0"/>
                <a:cs typeface="Arial" pitchFamily="34" charset="0"/>
              </a:rPr>
              <a:t>5-17-6-403</a:t>
            </a:r>
          </a:p>
        </p:txBody>
      </p:sp>
      <p:sp>
        <p:nvSpPr>
          <p:cNvPr id="8" name="テキスト ボックス 7">
            <a:extLst>
              <a:ext uri="{FF2B5EF4-FFF2-40B4-BE49-F238E27FC236}">
                <a16:creationId xmlns:a16="http://schemas.microsoft.com/office/drawing/2014/main" id="{8D8FDAE0-9F11-6448-94F8-356A77C16AE9}"/>
              </a:ext>
            </a:extLst>
          </p:cNvPr>
          <p:cNvSpPr txBox="1"/>
          <p:nvPr userDrawn="1"/>
        </p:nvSpPr>
        <p:spPr>
          <a:xfrm>
            <a:off x="6609184" y="6116798"/>
            <a:ext cx="1822935" cy="415498"/>
          </a:xfrm>
          <a:prstGeom prst="rect">
            <a:avLst/>
          </a:prstGeom>
          <a:ln w="12700">
            <a:noFill/>
          </a:ln>
        </p:spPr>
        <p:txBody>
          <a:bodyPr wrap="square" rtlCol="0">
            <a:spAutoFit/>
          </a:bodyPr>
          <a:lstStyle/>
          <a:p>
            <a:r>
              <a:rPr kumimoji="1" lang="ja-JP" altLang="en-US" sz="1050">
                <a:solidFill>
                  <a:srgbClr val="000000"/>
                </a:solidFill>
                <a:latin typeface="Arial" pitchFamily="34" charset="0"/>
                <a:cs typeface="Arial" pitchFamily="34" charset="0"/>
              </a:rPr>
              <a:t>電話：</a:t>
            </a:r>
            <a:r>
              <a:rPr kumimoji="1" lang="en-US" altLang="ja-JP" sz="1050">
                <a:solidFill>
                  <a:srgbClr val="000000"/>
                </a:solidFill>
                <a:latin typeface="Arial" pitchFamily="34" charset="0"/>
                <a:cs typeface="Arial" pitchFamily="34" charset="0"/>
              </a:rPr>
              <a:t>03-6456-4323</a:t>
            </a:r>
          </a:p>
          <a:p>
            <a:r>
              <a:rPr kumimoji="1" lang="en-US" altLang="ja-JP" sz="1050">
                <a:solidFill>
                  <a:srgbClr val="000000"/>
                </a:solidFill>
                <a:latin typeface="Arial" pitchFamily="34" charset="0"/>
                <a:cs typeface="Arial" pitchFamily="34" charset="0"/>
              </a:rPr>
              <a:t>URL</a:t>
            </a:r>
            <a:r>
              <a:rPr kumimoji="1" lang="ja-JP" altLang="en-US" sz="1050">
                <a:solidFill>
                  <a:srgbClr val="000000"/>
                </a:solidFill>
                <a:latin typeface="Arial" pitchFamily="34" charset="0"/>
                <a:cs typeface="Arial" pitchFamily="34" charset="0"/>
              </a:rPr>
              <a:t>：</a:t>
            </a:r>
            <a:r>
              <a:rPr kumimoji="1" lang="en-US" altLang="ja-JP" sz="1050">
                <a:solidFill>
                  <a:srgbClr val="000000"/>
                </a:solidFill>
                <a:latin typeface="Arial" pitchFamily="34" charset="0"/>
                <a:cs typeface="Arial" pitchFamily="34" charset="0"/>
              </a:rPr>
              <a:t>https://</a:t>
            </a:r>
            <a:r>
              <a:rPr kumimoji="1" lang="en-US" altLang="ja-JP" sz="1050" err="1">
                <a:solidFill>
                  <a:srgbClr val="000000"/>
                </a:solidFill>
                <a:latin typeface="Arial" pitchFamily="34" charset="0"/>
                <a:cs typeface="Arial" pitchFamily="34" charset="0"/>
              </a:rPr>
              <a:t>lefixea.com</a:t>
            </a:r>
            <a:endParaRPr kumimoji="1" lang="ja-JP" altLang="en-US" sz="1050" err="1">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045639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lternative Title Slide">
    <p:spTree>
      <p:nvGrpSpPr>
        <p:cNvPr id="1" name=""/>
        <p:cNvGrpSpPr/>
        <p:nvPr/>
      </p:nvGrpSpPr>
      <p:grpSpPr>
        <a:xfrm>
          <a:off x="0" y="0"/>
          <a:ext cx="0" cy="0"/>
          <a:chOff x="0" y="0"/>
          <a:chExt cx="0" cy="0"/>
        </a:xfrm>
      </p:grpSpPr>
      <p:sp>
        <p:nvSpPr>
          <p:cNvPr id="3" name="Rectangle 2"/>
          <p:cNvSpPr>
            <a:spLocks noChangeArrowheads="1"/>
          </p:cNvSpPr>
          <p:nvPr userDrawn="1">
            <p:custDataLst>
              <p:tags r:id="rId1"/>
            </p:custDataLst>
          </p:nvPr>
        </p:nvSpPr>
        <p:spPr bwMode="auto">
          <a:xfrm>
            <a:off x="0" y="1111250"/>
            <a:ext cx="9906000" cy="4660900"/>
          </a:xfrm>
          <a:prstGeom prst="rect">
            <a:avLst/>
          </a:prstGeom>
          <a:solidFill>
            <a:schemeClr val="tx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
          <a:lstStyle/>
          <a:p>
            <a:endParaRPr lang="en-US">
              <a:solidFill>
                <a:schemeClr val="bg1"/>
              </a:solidFill>
              <a:cs typeface="Arial" charset="0"/>
            </a:endParaRPr>
          </a:p>
        </p:txBody>
      </p:sp>
      <p:cxnSp>
        <p:nvCxnSpPr>
          <p:cNvPr id="4" name="Straight Connector 3"/>
          <p:cNvCxnSpPr>
            <a:stCxn id="3" idx="0"/>
            <a:endCxn id="3" idx="2"/>
          </p:cNvCxnSpPr>
          <p:nvPr userDrawn="1"/>
        </p:nvCxnSpPr>
        <p:spPr>
          <a:xfrm>
            <a:off x="4953000" y="1111250"/>
            <a:ext cx="0" cy="46609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p:cNvSpPr>
            <a:spLocks noGrp="1"/>
          </p:cNvSpPr>
          <p:nvPr>
            <p:ph type="ctrTitle" hasCustomPrompt="1"/>
          </p:nvPr>
        </p:nvSpPr>
        <p:spPr>
          <a:xfrm>
            <a:off x="381600" y="2239200"/>
            <a:ext cx="4572000" cy="492443"/>
          </a:xfrm>
        </p:spPr>
        <p:txBody>
          <a:bodyPr lIns="0" tIns="0" rIns="0" bIns="0" anchor="t">
            <a:spAutoFit/>
          </a:bodyPr>
          <a:lstStyle>
            <a:lvl1pPr algn="l">
              <a:defRPr sz="3200" b="1">
                <a:solidFill>
                  <a:schemeClr val="bg1"/>
                </a:solidFill>
                <a:latin typeface="Arial" pitchFamily="34" charset="0"/>
                <a:cs typeface="Arial" pitchFamily="34" charset="0"/>
              </a:defRPr>
            </a:lvl1pPr>
          </a:lstStyle>
          <a:p>
            <a:r>
              <a:rPr lang="en-US"/>
              <a:t>Title inserted here</a:t>
            </a:r>
            <a:endParaRPr lang="en-GB"/>
          </a:p>
        </p:txBody>
      </p:sp>
      <p:sp>
        <p:nvSpPr>
          <p:cNvPr id="6" name="Subtitle 2"/>
          <p:cNvSpPr>
            <a:spLocks noGrp="1"/>
          </p:cNvSpPr>
          <p:nvPr>
            <p:ph type="subTitle" idx="1" hasCustomPrompt="1"/>
          </p:nvPr>
        </p:nvSpPr>
        <p:spPr>
          <a:xfrm>
            <a:off x="381600" y="2746801"/>
            <a:ext cx="4572000" cy="276999"/>
          </a:xfrm>
        </p:spPr>
        <p:txBody>
          <a:bodyPr lIns="0" tIns="0" rIns="0" bIns="0">
            <a:spAutoFit/>
          </a:bodyPr>
          <a:lstStyle>
            <a:lvl1pPr marL="0" indent="0" algn="l">
              <a:buNone/>
              <a:defRPr sz="18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and date inserted here</a:t>
            </a:r>
            <a:endParaRPr lang="en-GB"/>
          </a:p>
        </p:txBody>
      </p:sp>
      <p:sp>
        <p:nvSpPr>
          <p:cNvPr id="7" name="Text Placeholder 4"/>
          <p:cNvSpPr>
            <a:spLocks noGrp="1"/>
          </p:cNvSpPr>
          <p:nvPr>
            <p:ph type="body" sz="quarter" idx="10" hasCustomPrompt="1"/>
          </p:nvPr>
        </p:nvSpPr>
        <p:spPr>
          <a:xfrm>
            <a:off x="382588" y="4798800"/>
            <a:ext cx="1789200" cy="504000"/>
          </a:xfrm>
        </p:spPr>
        <p:txBody>
          <a:bodyPr lIns="0" tIns="0" rIns="0" bIns="0"/>
          <a:lstStyle>
            <a:lvl1pPr>
              <a:spcBef>
                <a:spcPts val="0"/>
              </a:spcBef>
              <a:defRPr sz="1100" b="1">
                <a:solidFill>
                  <a:schemeClr val="bg1"/>
                </a:solidFill>
              </a:defRPr>
            </a:lvl1pPr>
            <a:lvl2pPr>
              <a:defRPr sz="1100" b="1"/>
            </a:lvl2pPr>
            <a:lvl3pPr>
              <a:defRPr sz="1100" b="1"/>
            </a:lvl3pPr>
            <a:lvl4pPr>
              <a:defRPr sz="1100" b="1"/>
            </a:lvl4pPr>
            <a:lvl5pPr>
              <a:defRPr sz="1100" b="1"/>
            </a:lvl5pPr>
          </a:lstStyle>
          <a:p>
            <a:pPr lvl="0"/>
            <a:r>
              <a:rPr lang="en-US"/>
              <a:t>Presentation/Report to Client Name</a:t>
            </a:r>
          </a:p>
        </p:txBody>
      </p:sp>
      <p:pic>
        <p:nvPicPr>
          <p:cNvPr id="11" name="Picture 9">
            <a:extLst>
              <a:ext uri="{FF2B5EF4-FFF2-40B4-BE49-F238E27FC236}">
                <a16:creationId xmlns:a16="http://schemas.microsoft.com/office/drawing/2014/main" id="{9746CFC5-530C-3A4D-AB0C-2EF41BA06EC3}"/>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01108" y="1480228"/>
            <a:ext cx="1294532" cy="389995"/>
          </a:xfrm>
          <a:prstGeom prst="rect">
            <a:avLst/>
          </a:prstGeom>
        </p:spPr>
      </p:pic>
    </p:spTree>
    <p:extLst>
      <p:ext uri="{BB962C8B-B14F-4D97-AF65-F5344CB8AC3E}">
        <p14:creationId xmlns:p14="http://schemas.microsoft.com/office/powerpoint/2010/main" val="2092843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205" y="620688"/>
            <a:ext cx="9144000" cy="244800"/>
          </a:xfrm>
        </p:spPr>
        <p:txBody>
          <a:bodyPr/>
          <a:lstStyle/>
          <a:p>
            <a:r>
              <a:rPr lang="ja-JP" altLang="en-US" noProof="0"/>
              <a:t>マスター タイトルの書式設定</a:t>
            </a:r>
            <a:endParaRPr lang="en-US" noProof="0"/>
          </a:p>
        </p:txBody>
      </p:sp>
      <p:sp>
        <p:nvSpPr>
          <p:cNvPr id="8" name="Text Placeholder 6"/>
          <p:cNvSpPr>
            <a:spLocks noGrp="1"/>
          </p:cNvSpPr>
          <p:nvPr>
            <p:ph type="body" sz="quarter" idx="12"/>
          </p:nvPr>
        </p:nvSpPr>
        <p:spPr>
          <a:xfrm>
            <a:off x="0" y="0"/>
            <a:ext cx="9906000" cy="404664"/>
          </a:xfrm>
        </p:spPr>
        <p:txBody>
          <a:bodyPr lIns="54000" tIns="0" rIns="0" bIns="0" anchor="ctr" anchorCtr="0">
            <a:noAutofit/>
          </a:bodyPr>
          <a:lstStyle>
            <a:lvl1pPr marL="141288" indent="0">
              <a:tabLst>
                <a:tab pos="327025" algn="l"/>
              </a:tabLst>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ja-JP" altLang="en-US" noProof="0"/>
              <a:t>マスター テキストの書式設定</a:t>
            </a:r>
          </a:p>
        </p:txBody>
      </p:sp>
      <p:sp>
        <p:nvSpPr>
          <p:cNvPr id="4" name="Textplatzhalter 6">
            <a:extLst>
              <a:ext uri="{FF2B5EF4-FFF2-40B4-BE49-F238E27FC236}">
                <a16:creationId xmlns:a16="http://schemas.microsoft.com/office/drawing/2014/main" id="{A600D8BB-ED81-B24C-8C5F-B3EDAF22D0C8}"/>
              </a:ext>
            </a:extLst>
          </p:cNvPr>
          <p:cNvSpPr>
            <a:spLocks noGrp="1"/>
          </p:cNvSpPr>
          <p:nvPr>
            <p:ph type="body" sz="quarter" idx="13" hasCustomPrompt="1"/>
          </p:nvPr>
        </p:nvSpPr>
        <p:spPr>
          <a:xfrm>
            <a:off x="384205" y="6302527"/>
            <a:ext cx="9144000" cy="154800"/>
          </a:xfrm>
        </p:spPr>
        <p:txBody>
          <a:bodyPr vert="horz" lIns="0" tIns="0" rIns="0" bIns="0" rtlCol="0" anchor="t" anchorCtr="0">
            <a:noAutofit/>
          </a:bodyPr>
          <a:lstStyle>
            <a:lvl1pPr>
              <a:defRPr lang="en-US" sz="1000" noProof="0" dirty="0" smtClean="0"/>
            </a:lvl1pPr>
          </a:lstStyle>
          <a:p>
            <a:pPr lvl="0">
              <a:spcBef>
                <a:spcPts val="0"/>
              </a:spcBef>
            </a:pPr>
            <a:r>
              <a:rPr lang="en-US" noProof="0"/>
              <a:t>Source: Complete if required</a:t>
            </a:r>
          </a:p>
        </p:txBody>
      </p:sp>
      <p:sp>
        <p:nvSpPr>
          <p:cNvPr id="5" name="Title 1">
            <a:extLst>
              <a:ext uri="{FF2B5EF4-FFF2-40B4-BE49-F238E27FC236}">
                <a16:creationId xmlns:a16="http://schemas.microsoft.com/office/drawing/2014/main" id="{2DE8A99F-8BD8-770F-95E2-EBA91DC23408}"/>
              </a:ext>
            </a:extLst>
          </p:cNvPr>
          <p:cNvSpPr txBox="1">
            <a:spLocks/>
          </p:cNvSpPr>
          <p:nvPr userDrawn="1"/>
        </p:nvSpPr>
        <p:spPr>
          <a:xfrm>
            <a:off x="8634336" y="93772"/>
            <a:ext cx="1219400" cy="246221"/>
          </a:xfrm>
          <a:prstGeom prst="rect">
            <a:avLst/>
          </a:prstGeom>
        </p:spPr>
        <p:txBody>
          <a:bodyPr vert="horz" wrap="square"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en-US" altLang="ja-JP"/>
              <a:t>Confidential</a:t>
            </a:r>
            <a:endParaRPr lang="en-US"/>
          </a:p>
        </p:txBody>
      </p:sp>
    </p:spTree>
    <p:extLst>
      <p:ext uri="{BB962C8B-B14F-4D97-AF65-F5344CB8AC3E}">
        <p14:creationId xmlns:p14="http://schemas.microsoft.com/office/powerpoint/2010/main" val="12865710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205" y="620688"/>
            <a:ext cx="9144000" cy="492443"/>
          </a:xfrm>
        </p:spPr>
        <p:txBody>
          <a:bodyPr/>
          <a:lstStyle/>
          <a:p>
            <a:r>
              <a:rPr lang="ja-JP" altLang="en-US" noProof="0"/>
              <a:t>マスター タイトルの書式設定</a:t>
            </a:r>
            <a:br>
              <a:rPr lang="en-US" altLang="ja-JP" noProof="0"/>
            </a:br>
            <a:r>
              <a:rPr lang="ja-JP" altLang="en-US" noProof="0"/>
              <a:t>マスター タイトルの書式設定</a:t>
            </a:r>
            <a:endParaRPr lang="en-US" noProof="0"/>
          </a:p>
        </p:txBody>
      </p:sp>
      <p:sp>
        <p:nvSpPr>
          <p:cNvPr id="4" name="Content Placeholder 2"/>
          <p:cNvSpPr>
            <a:spLocks noGrp="1"/>
          </p:cNvSpPr>
          <p:nvPr>
            <p:ph sz="half" idx="1"/>
          </p:nvPr>
        </p:nvSpPr>
        <p:spPr>
          <a:xfrm>
            <a:off x="390232" y="1196753"/>
            <a:ext cx="4496400" cy="5040560"/>
          </a:xfrm>
          <a:ln w="12700">
            <a:noFill/>
          </a:ln>
        </p:spPr>
        <p:txBody>
          <a:bodyPr>
            <a:noAutofit/>
          </a:bodyPr>
          <a:lstStyle>
            <a:lvl1pPr>
              <a:defRPr sz="1200"/>
            </a:lvl1pPr>
            <a:lvl2pPr marL="182563" indent="-180975">
              <a:defRPr sz="1200"/>
            </a:lvl2pPr>
            <a:lvl3pPr marL="357188" indent="-174625">
              <a:defRPr sz="1200"/>
            </a:lvl3pPr>
            <a:lvl4pPr marL="539750" indent="-182563">
              <a:defRPr sz="1200"/>
            </a:lvl4pPr>
            <a:lvl5pPr marL="541338" indent="0">
              <a:defRPr sz="1200"/>
            </a:lvl5pPr>
            <a:lvl6pPr>
              <a:defRPr sz="1800"/>
            </a:lvl6pPr>
            <a:lvl7pPr>
              <a:defRPr sz="1800"/>
            </a:lvl7pPr>
            <a:lvl8pPr>
              <a:defRPr sz="1800"/>
            </a:lvl8pPr>
            <a:lvl9pPr>
              <a:defRPr sz="1800"/>
            </a:lvl9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5" name="Content Placeholder 3"/>
          <p:cNvSpPr>
            <a:spLocks noGrp="1"/>
          </p:cNvSpPr>
          <p:nvPr>
            <p:ph sz="half" idx="2"/>
          </p:nvPr>
        </p:nvSpPr>
        <p:spPr>
          <a:xfrm>
            <a:off x="5037832" y="1196753"/>
            <a:ext cx="4496400" cy="5040560"/>
          </a:xfrm>
          <a:ln w="12700">
            <a:noFill/>
          </a:ln>
        </p:spPr>
        <p:txBody>
          <a:bodyPr>
            <a:noAutofit/>
          </a:bodyPr>
          <a:lstStyle>
            <a:lvl1pPr>
              <a:defRPr sz="1200"/>
            </a:lvl1pPr>
            <a:lvl2pPr marL="182563" indent="-180975">
              <a:defRPr sz="1200"/>
            </a:lvl2pPr>
            <a:lvl3pPr marL="357188" indent="-174625">
              <a:defRPr sz="1200"/>
            </a:lvl3pPr>
            <a:lvl4pPr marL="541338" indent="-184150">
              <a:defRPr sz="1200"/>
            </a:lvl4pPr>
            <a:lvl5pPr marL="541338" indent="0">
              <a:defRPr sz="1200"/>
            </a:lvl5pPr>
            <a:lvl6pPr>
              <a:defRPr sz="1800"/>
            </a:lvl6pPr>
            <a:lvl7pPr>
              <a:defRPr sz="1800"/>
            </a:lvl7pPr>
            <a:lvl8pPr>
              <a:defRPr sz="1800"/>
            </a:lvl8pPr>
            <a:lvl9pPr>
              <a:defRPr sz="1800"/>
            </a:lvl9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7" name="Text Placeholder 6"/>
          <p:cNvSpPr>
            <a:spLocks noGrp="1"/>
          </p:cNvSpPr>
          <p:nvPr>
            <p:ph type="body" sz="quarter" idx="12"/>
          </p:nvPr>
        </p:nvSpPr>
        <p:spPr>
          <a:xfrm>
            <a:off x="0" y="0"/>
            <a:ext cx="9906000" cy="404664"/>
          </a:xfrm>
        </p:spPr>
        <p:txBody>
          <a:bodyPr lIns="54000" tIns="0" rIns="0" bIns="0" anchor="ctr" anchorCtr="0">
            <a:noAutofit/>
          </a:bodyPr>
          <a:lstStyle>
            <a:lvl1pPr marL="141288" indent="0">
              <a:tabLst>
                <a:tab pos="327025" algn="l"/>
              </a:tabLst>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ja-JP" altLang="en-US" noProof="0"/>
              <a:t>マスター テキストの書式設定</a:t>
            </a:r>
          </a:p>
        </p:txBody>
      </p:sp>
      <p:sp>
        <p:nvSpPr>
          <p:cNvPr id="6" name="Textplatzhalter 6">
            <a:extLst>
              <a:ext uri="{FF2B5EF4-FFF2-40B4-BE49-F238E27FC236}">
                <a16:creationId xmlns:a16="http://schemas.microsoft.com/office/drawing/2014/main" id="{64259C74-CFB0-924A-B753-AB705F33935C}"/>
              </a:ext>
            </a:extLst>
          </p:cNvPr>
          <p:cNvSpPr>
            <a:spLocks noGrp="1"/>
          </p:cNvSpPr>
          <p:nvPr>
            <p:ph type="body" sz="quarter" idx="13" hasCustomPrompt="1"/>
          </p:nvPr>
        </p:nvSpPr>
        <p:spPr>
          <a:xfrm>
            <a:off x="384205" y="6302527"/>
            <a:ext cx="9144000" cy="154800"/>
          </a:xfrm>
        </p:spPr>
        <p:txBody>
          <a:bodyPr vert="horz" lIns="0" tIns="0" rIns="0" bIns="0" rtlCol="0" anchor="t" anchorCtr="0">
            <a:noAutofit/>
          </a:bodyPr>
          <a:lstStyle>
            <a:lvl1pPr>
              <a:defRPr lang="en-US" sz="1000" noProof="0" dirty="0" smtClean="0"/>
            </a:lvl1pPr>
          </a:lstStyle>
          <a:p>
            <a:pPr lvl="0">
              <a:spcBef>
                <a:spcPts val="0"/>
              </a:spcBef>
            </a:pPr>
            <a:r>
              <a:rPr lang="en-US" noProof="0"/>
              <a:t>Source: Complete if required</a:t>
            </a:r>
          </a:p>
        </p:txBody>
      </p:sp>
    </p:spTree>
    <p:extLst>
      <p:ext uri="{BB962C8B-B14F-4D97-AF65-F5344CB8AC3E}">
        <p14:creationId xmlns:p14="http://schemas.microsoft.com/office/powerpoint/2010/main" val="13864331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1432" y="620688"/>
            <a:ext cx="9144000" cy="244800"/>
          </a:xfrm>
          <a:prstGeom prst="rect">
            <a:avLst/>
          </a:prstGeom>
        </p:spPr>
        <p:txBody>
          <a:bodyPr vert="horz" lIns="0" tIns="0" rIns="0" bIns="0" rtlCol="0" anchor="t">
            <a:spAutoFit/>
          </a:bodyPr>
          <a:lstStyle/>
          <a:p>
            <a:r>
              <a:rPr lang="ja-JP" altLang="en-US"/>
              <a:t>マスター タイトルの書式設定</a:t>
            </a:r>
            <a:endParaRPr lang="en-US"/>
          </a:p>
        </p:txBody>
      </p:sp>
      <p:sp>
        <p:nvSpPr>
          <p:cNvPr id="3" name="Text Placeholder 2"/>
          <p:cNvSpPr>
            <a:spLocks noGrp="1"/>
          </p:cNvSpPr>
          <p:nvPr>
            <p:ph type="body" idx="1"/>
          </p:nvPr>
        </p:nvSpPr>
        <p:spPr>
          <a:xfrm>
            <a:off x="391432" y="1081511"/>
            <a:ext cx="9144000" cy="5155801"/>
          </a:xfrm>
          <a:prstGeom prst="rect">
            <a:avLst/>
          </a:prstGeom>
        </p:spPr>
        <p:txBody>
          <a:bodyPr vert="horz" lIns="91440" tIns="90000" rIns="91440" bIns="9000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1" name="Rectangle 7"/>
          <p:cNvSpPr>
            <a:spLocks noChangeArrowheads="1"/>
          </p:cNvSpPr>
          <p:nvPr/>
        </p:nvSpPr>
        <p:spPr bwMode="auto">
          <a:xfrm>
            <a:off x="9188450" y="6524625"/>
            <a:ext cx="336550" cy="2413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eaLnBrk="0" hangingPunct="0">
              <a:spcBef>
                <a:spcPct val="0"/>
              </a:spcBef>
            </a:pPr>
            <a:fld id="{CA48D800-1282-4793-80DF-9F8E83675139}" type="slidenum">
              <a:rPr lang="en-US" sz="1100" smtClean="0"/>
              <a:pPr algn="r" eaLnBrk="0" hangingPunct="0">
                <a:spcBef>
                  <a:spcPct val="0"/>
                </a:spcBef>
              </a:pPr>
              <a:t>‹#›</a:t>
            </a:fld>
            <a:endParaRPr lang="en-US" sz="1000"/>
          </a:p>
        </p:txBody>
      </p:sp>
      <p:pic>
        <p:nvPicPr>
          <p:cNvPr id="5" name="図 4">
            <a:extLst>
              <a:ext uri="{FF2B5EF4-FFF2-40B4-BE49-F238E27FC236}">
                <a16:creationId xmlns:a16="http://schemas.microsoft.com/office/drawing/2014/main" id="{BE959702-DB85-5F41-8259-2F63F13BE7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0472" y="6528144"/>
            <a:ext cx="881363" cy="236256"/>
          </a:xfrm>
          <a:prstGeom prst="rect">
            <a:avLst/>
          </a:prstGeom>
        </p:spPr>
      </p:pic>
      <p:cxnSp>
        <p:nvCxnSpPr>
          <p:cNvPr id="6" name="直線コネクタ 5">
            <a:extLst>
              <a:ext uri="{FF2B5EF4-FFF2-40B4-BE49-F238E27FC236}">
                <a16:creationId xmlns:a16="http://schemas.microsoft.com/office/drawing/2014/main" id="{C665D069-C650-6B44-B522-89A5F0EAC12D}"/>
              </a:ext>
            </a:extLst>
          </p:cNvPr>
          <p:cNvCxnSpPr>
            <a:cxnSpLocks/>
          </p:cNvCxnSpPr>
          <p:nvPr userDrawn="1"/>
        </p:nvCxnSpPr>
        <p:spPr>
          <a:xfrm>
            <a:off x="0" y="404664"/>
            <a:ext cx="437693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6967966"/>
      </p:ext>
    </p:extLst>
  </p:cSld>
  <p:clrMap bg1="lt1" tx1="dk1" bg2="lt2" tx2="dk2" accent1="accent1" accent2="accent2" accent3="accent3" accent4="accent4" accent5="accent5" accent6="accent6" hlink="hlink" folHlink="folHlink"/>
  <p:sldLayoutIdLst>
    <p:sldLayoutId id="2147483734" r:id="rId1"/>
    <p:sldLayoutId id="2147483739" r:id="rId2"/>
    <p:sldLayoutId id="2147483735" r:id="rId3"/>
    <p:sldLayoutId id="2147483736" r:id="rId4"/>
  </p:sldLayoutIdLst>
  <p:hf sldNum="0" hdr="0" dt="0"/>
  <p:txStyles>
    <p:title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p:titleStyle>
    <p:bodyStyle>
      <a:lvl1pPr marL="0" indent="0" algn="l" defTabSz="914400" rtl="0" eaLnBrk="1" latinLnBrk="0" hangingPunct="1">
        <a:spcBef>
          <a:spcPts val="1500"/>
        </a:spcBef>
        <a:buFontTx/>
        <a:buNone/>
        <a:defRPr kumimoji="1" sz="12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kumimoji="1" sz="12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kumimoji="1" sz="12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kumimoji="1" sz="12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kumimoji="1"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lefixea.com/"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15.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notesSlide" Target="../notesSlides/notesSlide11.xml"/><Relationship Id="rId7" Type="http://schemas.openxmlformats.org/officeDocument/2006/relationships/image" Target="../media/image5.emf"/><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18.png"/><Relationship Id="rId10" Type="http://schemas.openxmlformats.org/officeDocument/2006/relationships/image" Target="../media/image21.jpeg"/><Relationship Id="rId4" Type="http://schemas.openxmlformats.org/officeDocument/2006/relationships/image" Target="../media/image17.png"/><Relationship Id="rId9" Type="http://schemas.openxmlformats.org/officeDocument/2006/relationships/image" Target="../media/image20.jpe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19.jpeg"/><Relationship Id="rId3" Type="http://schemas.openxmlformats.org/officeDocument/2006/relationships/slideLayout" Target="../slideLayouts/slideLayout3.xml"/><Relationship Id="rId7" Type="http://schemas.openxmlformats.org/officeDocument/2006/relationships/hyperlink" Target="https://youtu.be/R7VNX-GOqMU" TargetMode="External"/><Relationship Id="rId12" Type="http://schemas.openxmlformats.org/officeDocument/2006/relationships/image" Target="../media/image25.jpeg"/><Relationship Id="rId2" Type="http://schemas.openxmlformats.org/officeDocument/2006/relationships/tags" Target="../tags/tag14.xml"/><Relationship Id="rId1" Type="http://schemas.openxmlformats.org/officeDocument/2006/relationships/themeOverride" Target="../theme/themeOverride1.xml"/><Relationship Id="rId6" Type="http://schemas.openxmlformats.org/officeDocument/2006/relationships/image" Target="../media/image5.emf"/><Relationship Id="rId11" Type="http://schemas.openxmlformats.org/officeDocument/2006/relationships/image" Target="../media/image24.jpeg"/><Relationship Id="rId5" Type="http://schemas.openxmlformats.org/officeDocument/2006/relationships/oleObject" Target="../embeddings/oleObject1.bin"/><Relationship Id="rId10" Type="http://schemas.openxmlformats.org/officeDocument/2006/relationships/image" Target="../media/image20.jpeg"/><Relationship Id="rId4" Type="http://schemas.openxmlformats.org/officeDocument/2006/relationships/notesSlide" Target="../notesSlides/notesSlide12.xml"/><Relationship Id="rId9" Type="http://schemas.openxmlformats.org/officeDocument/2006/relationships/image" Target="../media/image23.png"/><Relationship Id="rId14" Type="http://schemas.openxmlformats.org/officeDocument/2006/relationships/image" Target="../media/image21.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hyperlink" Target="https://youtu.be/RasB_SXQFyA?si=kx0A0nbq2A8rR7-s" TargetMode="External"/><Relationship Id="rId5" Type="http://schemas.openxmlformats.org/officeDocument/2006/relationships/image" Target="../media/image5.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BB6C06-41F5-7E51-0BBE-25B47B2E13B6}"/>
              </a:ext>
            </a:extLst>
          </p:cNvPr>
          <p:cNvSpPr>
            <a:spLocks noGrp="1"/>
          </p:cNvSpPr>
          <p:nvPr>
            <p:ph type="ctrTitle"/>
          </p:nvPr>
        </p:nvSpPr>
        <p:spPr/>
        <p:txBody>
          <a:bodyPr/>
          <a:lstStyle/>
          <a:p>
            <a:r>
              <a:rPr kumimoji="1" lang="ja-JP" altLang="en-US"/>
              <a:t>Measurement of area, volume, etc.</a:t>
            </a:r>
          </a:p>
        </p:txBody>
      </p:sp>
      <p:sp>
        <p:nvSpPr>
          <p:cNvPr id="4" name="テキスト プレースホルダー 3">
            <a:extLst>
              <a:ext uri="{FF2B5EF4-FFF2-40B4-BE49-F238E27FC236}">
                <a16:creationId xmlns:a16="http://schemas.microsoft.com/office/drawing/2014/main" id="{1CE996E2-EBE1-C2EA-A0F9-36A658D37021}"/>
              </a:ext>
            </a:extLst>
          </p:cNvPr>
          <p:cNvSpPr>
            <a:spLocks noGrp="1"/>
          </p:cNvSpPr>
          <p:nvPr>
            <p:ph type="body" sz="quarter" idx="10"/>
          </p:nvPr>
        </p:nvSpPr>
        <p:spPr/>
        <p:txBody>
          <a:bodyPr/>
          <a:lstStyle/>
          <a:p>
            <a:endParaRPr kumimoji="1" lang="ja-JP" altLang="en-US"/>
          </a:p>
        </p:txBody>
      </p:sp>
      <p:pic>
        <p:nvPicPr>
          <p:cNvPr id="3" name="Picture 2">
            <a:extLst>
              <a:ext uri="{FF2B5EF4-FFF2-40B4-BE49-F238E27FC236}">
                <a16:creationId xmlns:a16="http://schemas.microsoft.com/office/drawing/2014/main" id="{96F57ED9-318E-B001-D5CA-908C41CE347A}"/>
              </a:ext>
            </a:extLst>
          </p:cNvPr>
          <p:cNvPicPr>
            <a:picLocks noChangeAspect="1"/>
          </p:cNvPicPr>
          <p:nvPr/>
        </p:nvPicPr>
        <p:blipFill>
          <a:blip r:embed="rId2"/>
          <a:stretch>
            <a:fillRect/>
          </a:stretch>
        </p:blipFill>
        <p:spPr>
          <a:xfrm>
            <a:off x="6039924" y="4635335"/>
            <a:ext cx="2514451" cy="1897122"/>
          </a:xfrm>
          <a:prstGeom prst="rect">
            <a:avLst/>
          </a:prstGeom>
          <a:ln>
            <a:noFill/>
          </a:ln>
        </p:spPr>
      </p:pic>
      <p:sp>
        <p:nvSpPr>
          <p:cNvPr id="5" name="TextBox 13">
            <a:extLst>
              <a:ext uri="{FF2B5EF4-FFF2-40B4-BE49-F238E27FC236}">
                <a16:creationId xmlns:a16="http://schemas.microsoft.com/office/drawing/2014/main" id="{13D757CF-D9CC-2FED-41CD-6280A18E9D91}"/>
              </a:ext>
            </a:extLst>
          </p:cNvPr>
          <p:cNvSpPr txBox="1"/>
          <p:nvPr/>
        </p:nvSpPr>
        <p:spPr>
          <a:xfrm>
            <a:off x="6387853" y="6200831"/>
            <a:ext cx="2743200" cy="276999"/>
          </a:xfrm>
          <a:prstGeom prst="rect">
            <a:avLst/>
          </a:prstGeom>
          <a:noFill/>
          <a:ln w="12700">
            <a:no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200" b="1" dirty="0">
                <a:latin typeface="MS PGothic"/>
                <a:ea typeface="MS PGothic"/>
                <a:cs typeface="+mn-lt"/>
                <a:hlinkClick r:id="rId3"/>
              </a:rPr>
              <a:t>https://www.lefixea.com/</a:t>
            </a:r>
            <a:endParaRPr lang="en-US" sz="1200" b="1">
              <a:latin typeface="MS PGothic"/>
              <a:ea typeface="MS PGothic"/>
              <a:cs typeface="+mn-lt"/>
            </a:endParaRPr>
          </a:p>
        </p:txBody>
      </p:sp>
    </p:spTree>
    <p:extLst>
      <p:ext uri="{BB962C8B-B14F-4D97-AF65-F5344CB8AC3E}">
        <p14:creationId xmlns:p14="http://schemas.microsoft.com/office/powerpoint/2010/main" val="2819633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pic>
        <p:nvPicPr>
          <p:cNvPr id="13" name="図 12">
            <a:extLst>
              <a:ext uri="{FF2B5EF4-FFF2-40B4-BE49-F238E27FC236}">
                <a16:creationId xmlns:a16="http://schemas.microsoft.com/office/drawing/2014/main" id="{6371A845-5507-EFD9-5611-37AB74031DFF}"/>
              </a:ext>
            </a:extLst>
          </p:cNvPr>
          <p:cNvPicPr>
            <a:picLocks noChangeAspect="1"/>
          </p:cNvPicPr>
          <p:nvPr/>
        </p:nvPicPr>
        <p:blipFill>
          <a:blip r:embed="rId4"/>
          <a:srcRect l="576" t="6920" r="-486" b="-139"/>
          <a:stretch>
            <a:fillRect/>
          </a:stretch>
        </p:blipFill>
        <p:spPr>
          <a:xfrm>
            <a:off x="3819231" y="1929457"/>
            <a:ext cx="2105670" cy="4271430"/>
          </a:xfrm>
          <a:prstGeom prst="rect">
            <a:avLst/>
          </a:prstGeom>
          <a:ln>
            <a:solidFill>
              <a:schemeClr val="accent1"/>
            </a:solidFill>
          </a:ln>
        </p:spPr>
      </p:pic>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926398"/>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en-US" altLang="ja-JP" sz="2000" dirty="0"/>
              <a:t>[Confirm coordinates in the app] Obtain coordinates on-site</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Display absolute coordinates in the point Cloud Viewer</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400110"/>
          </a:xfrm>
          <a:prstGeom prst="rect">
            <a:avLst/>
          </a:prstGeom>
          <a:ln w="12700">
            <a:noFill/>
          </a:ln>
        </p:spPr>
        <p:txBody>
          <a:bodyPr wrap="square" rtlCol="0">
            <a:spAutoFit/>
          </a:bodyPr>
          <a:lstStyle/>
          <a:p>
            <a:r>
              <a:rPr kumimoji="1" lang="ja-JP" altLang="en-US" sz="2000" b="1">
                <a:latin typeface="Arial" pitchFamily="34" charset="0"/>
                <a:cs typeface="Arial" pitchFamily="34" charset="0"/>
              </a:rPr>
              <a:t>Open the point cloud from the app's data list to check various survey measurements on-site.</a:t>
            </a:r>
            <a:endParaRPr kumimoji="1" lang="en-US" altLang="ja-JP" sz="2000" b="1" dirty="0">
              <a:latin typeface="Arial" pitchFamily="34" charset="0"/>
              <a:cs typeface="Arial" pitchFamily="34" charset="0"/>
            </a:endParaRPr>
          </a:p>
        </p:txBody>
      </p:sp>
      <p:sp>
        <p:nvSpPr>
          <p:cNvPr id="6" name="正方形/長方形 5">
            <a:extLst>
              <a:ext uri="{FF2B5EF4-FFF2-40B4-BE49-F238E27FC236}">
                <a16:creationId xmlns:a16="http://schemas.microsoft.com/office/drawing/2014/main" id="{4F6BC3D6-458B-7B2D-832A-FC0F7BD11832}"/>
              </a:ext>
            </a:extLst>
          </p:cNvPr>
          <p:cNvSpPr/>
          <p:nvPr/>
        </p:nvSpPr>
        <p:spPr>
          <a:xfrm>
            <a:off x="5389631" y="2293871"/>
            <a:ext cx="459089" cy="61435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8" name="正方形/長方形 7">
            <a:extLst>
              <a:ext uri="{FF2B5EF4-FFF2-40B4-BE49-F238E27FC236}">
                <a16:creationId xmlns:a16="http://schemas.microsoft.com/office/drawing/2014/main" id="{9988D391-B37B-9DA9-52B9-91DC634BEC14}"/>
              </a:ext>
            </a:extLst>
          </p:cNvPr>
          <p:cNvSpPr/>
          <p:nvPr/>
        </p:nvSpPr>
        <p:spPr>
          <a:xfrm>
            <a:off x="3815552" y="5337972"/>
            <a:ext cx="2041636" cy="85988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9" name="正方形/長方形 8">
            <a:extLst>
              <a:ext uri="{FF2B5EF4-FFF2-40B4-BE49-F238E27FC236}">
                <a16:creationId xmlns:a16="http://schemas.microsoft.com/office/drawing/2014/main" id="{951D0033-9CA6-9983-5D54-6B50E6C5DA3F}"/>
              </a:ext>
            </a:extLst>
          </p:cNvPr>
          <p:cNvSpPr/>
          <p:nvPr/>
        </p:nvSpPr>
        <p:spPr>
          <a:xfrm>
            <a:off x="3815796" y="3565880"/>
            <a:ext cx="490059" cy="71522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15" name="正方形/長方形 14">
            <a:extLst>
              <a:ext uri="{FF2B5EF4-FFF2-40B4-BE49-F238E27FC236}">
                <a16:creationId xmlns:a16="http://schemas.microsoft.com/office/drawing/2014/main" id="{17DC2650-FB29-0EB7-6D2B-5246EDCBE054}"/>
              </a:ext>
            </a:extLst>
          </p:cNvPr>
          <p:cNvSpPr/>
          <p:nvPr/>
        </p:nvSpPr>
        <p:spPr>
          <a:xfrm>
            <a:off x="6851296" y="2049000"/>
            <a:ext cx="2023676" cy="858494"/>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Open the point cloud from the data list and tap a coordinate.</a:t>
            </a:r>
            <a:endParaRPr kumimoji="1" lang="en-US" altLang="ja-JP" sz="1400" dirty="0">
              <a:solidFill>
                <a:schemeClr val="tx1"/>
              </a:solidFill>
              <a:latin typeface="Arial" pitchFamily="34" charset="0"/>
              <a:cs typeface="Arial" pitchFamily="34" charset="0"/>
            </a:endParaRPr>
          </a:p>
        </p:txBody>
      </p:sp>
      <p:sp>
        <p:nvSpPr>
          <p:cNvPr id="16" name="正方形/長方形 15">
            <a:extLst>
              <a:ext uri="{FF2B5EF4-FFF2-40B4-BE49-F238E27FC236}">
                <a16:creationId xmlns:a16="http://schemas.microsoft.com/office/drawing/2014/main" id="{BD72BDAE-E65F-118E-4EC8-F4F9D12EA086}"/>
              </a:ext>
            </a:extLst>
          </p:cNvPr>
          <p:cNvSpPr/>
          <p:nvPr/>
        </p:nvSpPr>
        <p:spPr>
          <a:xfrm>
            <a:off x="6851296" y="5342921"/>
            <a:ext cx="2234746" cy="858494"/>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600">
                <a:solidFill>
                  <a:schemeClr val="tx1"/>
                </a:solidFill>
                <a:latin typeface="Arial" pitchFamily="34" charset="0"/>
                <a:cs typeface="Arial" pitchFamily="34" charset="0"/>
              </a:rPr>
              <a:t>Tap the point you want to measure to display its coordinates.</a:t>
            </a:r>
            <a:endParaRPr kumimoji="1" lang="en-US" altLang="ja-JP" sz="1600">
              <a:solidFill>
                <a:schemeClr val="tx1"/>
              </a:solidFill>
              <a:latin typeface="Arial" pitchFamily="34" charset="0"/>
              <a:cs typeface="Arial" pitchFamily="34" charset="0"/>
            </a:endParaRPr>
          </a:p>
        </p:txBody>
      </p:sp>
      <p:sp>
        <p:nvSpPr>
          <p:cNvPr id="17" name="正方形/長方形 16">
            <a:extLst>
              <a:ext uri="{FF2B5EF4-FFF2-40B4-BE49-F238E27FC236}">
                <a16:creationId xmlns:a16="http://schemas.microsoft.com/office/drawing/2014/main" id="{F6369193-C573-2C2F-3025-E84F9F55C206}"/>
              </a:ext>
            </a:extLst>
          </p:cNvPr>
          <p:cNvSpPr/>
          <p:nvPr/>
        </p:nvSpPr>
        <p:spPr>
          <a:xfrm>
            <a:off x="271944" y="2380608"/>
            <a:ext cx="2772814" cy="1072822"/>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When you press Save Imag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A screenshot of this screen is saved as a positioning imag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Supports cloud synchronization.</a:t>
            </a:r>
            <a:endParaRPr kumimoji="1" lang="en-US" altLang="ja-JP" sz="1400" dirty="0">
              <a:solidFill>
                <a:schemeClr val="tx1"/>
              </a:solidFill>
              <a:latin typeface="Arial" pitchFamily="34" charset="0"/>
              <a:cs typeface="Arial" pitchFamily="34" charset="0"/>
            </a:endParaRPr>
          </a:p>
        </p:txBody>
      </p:sp>
      <p:cxnSp>
        <p:nvCxnSpPr>
          <p:cNvPr id="18" name="直線コネクタ 17">
            <a:extLst>
              <a:ext uri="{FF2B5EF4-FFF2-40B4-BE49-F238E27FC236}">
                <a16:creationId xmlns:a16="http://schemas.microsoft.com/office/drawing/2014/main" id="{9CCEE4D7-F7AE-1603-C8DF-CB933BADB6AF}"/>
              </a:ext>
            </a:extLst>
          </p:cNvPr>
          <p:cNvCxnSpPr>
            <a:cxnSpLocks/>
            <a:stCxn id="17" idx="3"/>
            <a:endCxn id="9" idx="1"/>
          </p:cNvCxnSpPr>
          <p:nvPr/>
        </p:nvCxnSpPr>
        <p:spPr>
          <a:xfrm>
            <a:off x="3044758" y="2917019"/>
            <a:ext cx="771038" cy="10064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83122349-4E62-F545-D8E1-12B26E1D148D}"/>
              </a:ext>
            </a:extLst>
          </p:cNvPr>
          <p:cNvCxnSpPr>
            <a:cxnSpLocks/>
            <a:stCxn id="16" idx="1"/>
          </p:cNvCxnSpPr>
          <p:nvPr/>
        </p:nvCxnSpPr>
        <p:spPr>
          <a:xfrm flipH="1">
            <a:off x="5821866" y="5772168"/>
            <a:ext cx="102943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13AF5ACC-9717-7509-2412-247F96E078DA}"/>
              </a:ext>
            </a:extLst>
          </p:cNvPr>
          <p:cNvCxnSpPr>
            <a:cxnSpLocks/>
            <a:stCxn id="15" idx="1"/>
            <a:endCxn id="6" idx="3"/>
          </p:cNvCxnSpPr>
          <p:nvPr/>
        </p:nvCxnSpPr>
        <p:spPr>
          <a:xfrm flipH="1">
            <a:off x="5848720" y="2478247"/>
            <a:ext cx="1002576" cy="12280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36153894-0775-8543-9872-883E24D76A88}"/>
              </a:ext>
            </a:extLst>
          </p:cNvPr>
          <p:cNvSpPr/>
          <p:nvPr/>
        </p:nvSpPr>
        <p:spPr>
          <a:xfrm>
            <a:off x="4837344" y="5413819"/>
            <a:ext cx="557190" cy="538876"/>
          </a:xfrm>
          <a:prstGeom prst="rect">
            <a:avLst/>
          </a:prstGeom>
          <a:solidFill>
            <a:srgbClr val="000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200" dirty="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8177749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pic>
        <p:nvPicPr>
          <p:cNvPr id="23" name="図 22">
            <a:extLst>
              <a:ext uri="{FF2B5EF4-FFF2-40B4-BE49-F238E27FC236}">
                <a16:creationId xmlns:a16="http://schemas.microsoft.com/office/drawing/2014/main" id="{8B98C6EA-B3B6-0FF0-3574-6BE628312056}"/>
              </a:ext>
            </a:extLst>
          </p:cNvPr>
          <p:cNvPicPr>
            <a:picLocks noChangeAspect="1"/>
          </p:cNvPicPr>
          <p:nvPr/>
        </p:nvPicPr>
        <p:blipFill>
          <a:blip r:embed="rId4"/>
          <a:srcRect l="1070" t="6126" b="-599"/>
          <a:stretch>
            <a:fillRect/>
          </a:stretch>
        </p:blipFill>
        <p:spPr>
          <a:xfrm>
            <a:off x="3326073" y="1582205"/>
            <a:ext cx="2316259" cy="4797669"/>
          </a:xfrm>
          <a:prstGeom prst="rect">
            <a:avLst/>
          </a:prstGeom>
        </p:spPr>
      </p:pic>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en-US" altLang="ja-JP" sz="2000" dirty="0"/>
              <a:t>[Check distance with the app] Get distance on site</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Displaying distance in the point cloud viewer</a:t>
            </a:r>
            <a:endParaRPr kumimoji="0" lang="en-US" sz="2000" b="1" i="0" u="none" strike="noStrike" kern="0" cap="none" spc="0" normalizeH="0" baseline="0">
              <a:ln>
                <a:noFill/>
              </a:ln>
              <a:solidFill>
                <a:srgbClr val="FFFFFF"/>
              </a:solidFill>
              <a:effectLst/>
              <a:uLnTx/>
              <a:uFillTx/>
              <a:latin typeface="Arial" pitchFamily="34" charset="0"/>
              <a:cs typeface="Arial" pitchFamily="34" charset="0"/>
            </a:endParaRP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400110"/>
          </a:xfrm>
          <a:prstGeom prst="rect">
            <a:avLst/>
          </a:prstGeom>
          <a:ln w="12700">
            <a:noFill/>
          </a:ln>
        </p:spPr>
        <p:txBody>
          <a:bodyPr wrap="square" rtlCol="0">
            <a:spAutoFit/>
          </a:bodyPr>
          <a:lstStyle/>
          <a:p>
            <a:r>
              <a:rPr kumimoji="1" lang="ja-JP" altLang="en-US" sz="2000" b="1">
                <a:latin typeface="Arial" pitchFamily="34" charset="0"/>
                <a:cs typeface="Arial" pitchFamily="34" charset="0"/>
              </a:rPr>
              <a:t>Open the point cloud from the app's data list to check various survey measurements on-site.</a:t>
            </a:r>
            <a:endParaRPr kumimoji="1" lang="en-US" altLang="ja-JP" sz="2000" b="1" dirty="0">
              <a:latin typeface="Arial" pitchFamily="34" charset="0"/>
              <a:cs typeface="Arial" pitchFamily="34" charset="0"/>
            </a:endParaRPr>
          </a:p>
        </p:txBody>
      </p:sp>
      <p:sp>
        <p:nvSpPr>
          <p:cNvPr id="7" name="正方形/長方形 6">
            <a:extLst>
              <a:ext uri="{FF2B5EF4-FFF2-40B4-BE49-F238E27FC236}">
                <a16:creationId xmlns:a16="http://schemas.microsoft.com/office/drawing/2014/main" id="{FC02CC47-9746-D93D-2A39-D5CB10E7B4F4}"/>
              </a:ext>
            </a:extLst>
          </p:cNvPr>
          <p:cNvSpPr/>
          <p:nvPr/>
        </p:nvSpPr>
        <p:spPr>
          <a:xfrm>
            <a:off x="5055897" y="2722579"/>
            <a:ext cx="581890" cy="63373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8" name="正方形/長方形 7">
            <a:extLst>
              <a:ext uri="{FF2B5EF4-FFF2-40B4-BE49-F238E27FC236}">
                <a16:creationId xmlns:a16="http://schemas.microsoft.com/office/drawing/2014/main" id="{326546C6-8564-2BAB-863D-8B5AE54CEDB1}"/>
              </a:ext>
            </a:extLst>
          </p:cNvPr>
          <p:cNvSpPr/>
          <p:nvPr/>
        </p:nvSpPr>
        <p:spPr>
          <a:xfrm>
            <a:off x="4032484" y="3592442"/>
            <a:ext cx="1207108" cy="63373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9" name="正方形/長方形 8">
            <a:extLst>
              <a:ext uri="{FF2B5EF4-FFF2-40B4-BE49-F238E27FC236}">
                <a16:creationId xmlns:a16="http://schemas.microsoft.com/office/drawing/2014/main" id="{7BD7887D-F104-6833-EFF9-4C8677CFE47D}"/>
              </a:ext>
            </a:extLst>
          </p:cNvPr>
          <p:cNvSpPr/>
          <p:nvPr/>
        </p:nvSpPr>
        <p:spPr>
          <a:xfrm>
            <a:off x="3325105" y="3511507"/>
            <a:ext cx="490059" cy="71522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10" name="正方形/長方形 9">
            <a:extLst>
              <a:ext uri="{FF2B5EF4-FFF2-40B4-BE49-F238E27FC236}">
                <a16:creationId xmlns:a16="http://schemas.microsoft.com/office/drawing/2014/main" id="{D7DAADAE-B431-002F-224A-57A71AC5F245}"/>
              </a:ext>
            </a:extLst>
          </p:cNvPr>
          <p:cNvSpPr/>
          <p:nvPr/>
        </p:nvSpPr>
        <p:spPr>
          <a:xfrm>
            <a:off x="6564874" y="2104027"/>
            <a:ext cx="2023676" cy="858494"/>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Open the point cloud from the data list and tap a coordinate.</a:t>
            </a:r>
            <a:endParaRPr kumimoji="1" lang="en-US" altLang="ja-JP" sz="1400" dirty="0">
              <a:solidFill>
                <a:schemeClr val="tx1"/>
              </a:solidFill>
              <a:latin typeface="Arial" pitchFamily="34" charset="0"/>
              <a:cs typeface="Arial" pitchFamily="34" charset="0"/>
            </a:endParaRPr>
          </a:p>
        </p:txBody>
      </p:sp>
      <p:sp>
        <p:nvSpPr>
          <p:cNvPr id="12" name="正方形/長方形 11">
            <a:extLst>
              <a:ext uri="{FF2B5EF4-FFF2-40B4-BE49-F238E27FC236}">
                <a16:creationId xmlns:a16="http://schemas.microsoft.com/office/drawing/2014/main" id="{2FB6C94C-486A-B015-D938-EB384DD5C52F}"/>
              </a:ext>
            </a:extLst>
          </p:cNvPr>
          <p:cNvSpPr/>
          <p:nvPr/>
        </p:nvSpPr>
        <p:spPr>
          <a:xfrm>
            <a:off x="6428124" y="3971459"/>
            <a:ext cx="2234746" cy="1101283"/>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a:solidFill>
                  <a:schemeClr val="tx1"/>
                </a:solidFill>
                <a:latin typeface="Arial" pitchFamily="34" charset="0"/>
                <a:cs typeface="Arial" pitchFamily="34" charset="0"/>
              </a:rPr>
              <a:t>When you tap the two points you want to measure the distance between, the distance...</a:t>
            </a:r>
            <a:endParaRPr kumimoji="1" lang="en-US" altLang="ja-JP" sz="1200" dirty="0">
              <a:solidFill>
                <a:schemeClr val="tx1"/>
              </a:solidFill>
              <a:latin typeface="Arial" pitchFamily="34" charset="0"/>
              <a:cs typeface="Arial" pitchFamily="34" charset="0"/>
            </a:endParaRPr>
          </a:p>
          <a:p>
            <a:r>
              <a:rPr kumimoji="1" lang="ja-JP" altLang="en-US" sz="1200">
                <a:solidFill>
                  <a:schemeClr val="tx1"/>
                </a:solidFill>
                <a:latin typeface="Arial" pitchFamily="34" charset="0"/>
                <a:cs typeface="Arial" pitchFamily="34" charset="0"/>
              </a:rPr>
              <a:t>is displayed.</a:t>
            </a:r>
            <a:endParaRPr kumimoji="1" lang="en-US" altLang="ja-JP" sz="1200" dirty="0">
              <a:solidFill>
                <a:schemeClr val="tx1"/>
              </a:solidFill>
              <a:latin typeface="Arial" pitchFamily="34" charset="0"/>
              <a:cs typeface="Arial" pitchFamily="34" charset="0"/>
            </a:endParaRPr>
          </a:p>
        </p:txBody>
      </p:sp>
      <p:sp>
        <p:nvSpPr>
          <p:cNvPr id="13" name="正方形/長方形 12">
            <a:extLst>
              <a:ext uri="{FF2B5EF4-FFF2-40B4-BE49-F238E27FC236}">
                <a16:creationId xmlns:a16="http://schemas.microsoft.com/office/drawing/2014/main" id="{DC4F7163-63BB-20E1-7AB1-93E1D1418CF4}"/>
              </a:ext>
            </a:extLst>
          </p:cNvPr>
          <p:cNvSpPr/>
          <p:nvPr/>
        </p:nvSpPr>
        <p:spPr>
          <a:xfrm>
            <a:off x="134083" y="2314751"/>
            <a:ext cx="2772814" cy="1072822"/>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When you press Save Imag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A screenshot of this screen is saved as a positioning imag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Supports cloud synchronization.</a:t>
            </a:r>
            <a:endParaRPr kumimoji="1" lang="en-US" altLang="ja-JP" sz="1400" dirty="0">
              <a:solidFill>
                <a:schemeClr val="tx1"/>
              </a:solidFill>
              <a:latin typeface="Arial" pitchFamily="34" charset="0"/>
              <a:cs typeface="Arial" pitchFamily="34" charset="0"/>
            </a:endParaRPr>
          </a:p>
        </p:txBody>
      </p:sp>
      <p:cxnSp>
        <p:nvCxnSpPr>
          <p:cNvPr id="15" name="直線コネクタ 14">
            <a:extLst>
              <a:ext uri="{FF2B5EF4-FFF2-40B4-BE49-F238E27FC236}">
                <a16:creationId xmlns:a16="http://schemas.microsoft.com/office/drawing/2014/main" id="{35BB64EE-C579-EC96-9393-456113291264}"/>
              </a:ext>
            </a:extLst>
          </p:cNvPr>
          <p:cNvCxnSpPr>
            <a:cxnSpLocks/>
            <a:stCxn id="13" idx="3"/>
            <a:endCxn id="9" idx="1"/>
          </p:cNvCxnSpPr>
          <p:nvPr/>
        </p:nvCxnSpPr>
        <p:spPr>
          <a:xfrm>
            <a:off x="2906897" y="2851162"/>
            <a:ext cx="418208" cy="1017959"/>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7222E26-4943-0FFE-7257-BCF9EFE338D8}"/>
              </a:ext>
            </a:extLst>
          </p:cNvPr>
          <p:cNvCxnSpPr>
            <a:cxnSpLocks/>
            <a:stCxn id="12" idx="1"/>
          </p:cNvCxnSpPr>
          <p:nvPr/>
        </p:nvCxnSpPr>
        <p:spPr>
          <a:xfrm flipH="1" flipV="1">
            <a:off x="5224725" y="3858209"/>
            <a:ext cx="1223865" cy="67412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98B59B4B-A946-3B4F-F3A2-3272AE49BF75}"/>
              </a:ext>
            </a:extLst>
          </p:cNvPr>
          <p:cNvCxnSpPr>
            <a:cxnSpLocks/>
            <a:endCxn id="7" idx="3"/>
          </p:cNvCxnSpPr>
          <p:nvPr/>
        </p:nvCxnSpPr>
        <p:spPr>
          <a:xfrm flipH="1">
            <a:off x="5637787" y="2390660"/>
            <a:ext cx="702002" cy="64878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3483DDE-BE68-2692-70E7-CD9951D2D1C0}"/>
              </a:ext>
            </a:extLst>
          </p:cNvPr>
          <p:cNvSpPr/>
          <p:nvPr/>
        </p:nvSpPr>
        <p:spPr>
          <a:xfrm>
            <a:off x="4632722" y="5495687"/>
            <a:ext cx="557190" cy="538876"/>
          </a:xfrm>
          <a:prstGeom prst="rect">
            <a:avLst/>
          </a:prstGeom>
          <a:solidFill>
            <a:srgbClr val="000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200" dirty="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978358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pic>
        <p:nvPicPr>
          <p:cNvPr id="26" name="図 25">
            <a:extLst>
              <a:ext uri="{FF2B5EF4-FFF2-40B4-BE49-F238E27FC236}">
                <a16:creationId xmlns:a16="http://schemas.microsoft.com/office/drawing/2014/main" id="{3CC8D88F-3E4A-03E1-65CF-9C7C6396CB99}"/>
              </a:ext>
            </a:extLst>
          </p:cNvPr>
          <p:cNvPicPr>
            <a:picLocks noChangeAspect="1"/>
          </p:cNvPicPr>
          <p:nvPr/>
        </p:nvPicPr>
        <p:blipFill>
          <a:blip r:embed="rId4"/>
          <a:stretch>
            <a:fillRect/>
          </a:stretch>
        </p:blipFill>
        <p:spPr>
          <a:xfrm>
            <a:off x="1801346" y="1748662"/>
            <a:ext cx="2272455" cy="4554148"/>
          </a:xfrm>
          <a:prstGeom prst="rect">
            <a:avLst/>
          </a:prstGeom>
          <a:ln>
            <a:solidFill>
              <a:schemeClr val="accent1"/>
            </a:solidFill>
          </a:ln>
        </p:spPr>
      </p:pic>
      <p:pic>
        <p:nvPicPr>
          <p:cNvPr id="21" name="図 20">
            <a:extLst>
              <a:ext uri="{FF2B5EF4-FFF2-40B4-BE49-F238E27FC236}">
                <a16:creationId xmlns:a16="http://schemas.microsoft.com/office/drawing/2014/main" id="{8F38D0E4-CE1F-9BC1-9C17-8D638EC6B9D2}"/>
              </a:ext>
            </a:extLst>
          </p:cNvPr>
          <p:cNvPicPr>
            <a:picLocks noChangeAspect="1"/>
          </p:cNvPicPr>
          <p:nvPr/>
        </p:nvPicPr>
        <p:blipFill>
          <a:blip r:embed="rId5"/>
          <a:stretch>
            <a:fillRect/>
          </a:stretch>
        </p:blipFill>
        <p:spPr>
          <a:xfrm>
            <a:off x="5705535" y="1751730"/>
            <a:ext cx="2290931" cy="4554148"/>
          </a:xfrm>
          <a:prstGeom prst="rect">
            <a:avLst/>
          </a:prstGeom>
          <a:ln>
            <a:solidFill>
              <a:schemeClr val="accent1"/>
            </a:solidFill>
          </a:ln>
        </p:spPr>
      </p:pic>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71845" y="1590148"/>
            <a:ext cx="9762308" cy="487731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en-US" altLang="ja-JP" sz="2000" dirty="0"/>
              <a:t>Check area in the app — measure area on site</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Showing the area in the point cloud viewer</a:t>
            </a:r>
            <a:endParaRPr kumimoji="0" lang="en-US" altLang="ja-JP" sz="2000" b="1" i="0" u="none" strike="noStrike" kern="0" cap="none" spc="0" normalizeH="0" baseline="0">
              <a:ln>
                <a:noFill/>
              </a:ln>
              <a:solidFill>
                <a:srgbClr val="FFFFFF"/>
              </a:solidFill>
              <a:effectLst/>
              <a:uLnTx/>
              <a:uFillTx/>
              <a:latin typeface="Arial" pitchFamily="34" charset="0"/>
              <a:cs typeface="Arial" pitchFamily="34" charset="0"/>
            </a:endParaRP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400110"/>
          </a:xfrm>
          <a:prstGeom prst="rect">
            <a:avLst/>
          </a:prstGeom>
          <a:ln w="12700">
            <a:noFill/>
          </a:ln>
        </p:spPr>
        <p:txBody>
          <a:bodyPr wrap="square" rtlCol="0">
            <a:spAutoFit/>
          </a:bodyPr>
          <a:lstStyle/>
          <a:p>
            <a:r>
              <a:rPr kumimoji="1" lang="ja-JP" altLang="en-US" sz="2000" b="1">
                <a:latin typeface="Arial" pitchFamily="34" charset="0"/>
                <a:cs typeface="Arial" pitchFamily="34" charset="0"/>
              </a:rPr>
              <a:t>Open the point cloud from the app's data list to check various survey measurements on-site.</a:t>
            </a:r>
            <a:endParaRPr kumimoji="1" lang="en-US" altLang="ja-JP" sz="2000" b="1" dirty="0">
              <a:latin typeface="Arial" pitchFamily="34" charset="0"/>
              <a:cs typeface="Arial" pitchFamily="34" charset="0"/>
            </a:endParaRPr>
          </a:p>
        </p:txBody>
      </p:sp>
      <p:sp>
        <p:nvSpPr>
          <p:cNvPr id="13" name="矢印: 右 12">
            <a:extLst>
              <a:ext uri="{FF2B5EF4-FFF2-40B4-BE49-F238E27FC236}">
                <a16:creationId xmlns:a16="http://schemas.microsoft.com/office/drawing/2014/main" id="{B53E6974-7302-F302-52AE-9452C653B8C4}"/>
              </a:ext>
            </a:extLst>
          </p:cNvPr>
          <p:cNvSpPr/>
          <p:nvPr/>
        </p:nvSpPr>
        <p:spPr>
          <a:xfrm>
            <a:off x="4704261" y="3650800"/>
            <a:ext cx="497477" cy="704850"/>
          </a:xfrm>
          <a:prstGeom prst="right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pic>
        <p:nvPicPr>
          <p:cNvPr id="17" name="Picture 16">
            <a:extLst>
              <a:ext uri="{FF2B5EF4-FFF2-40B4-BE49-F238E27FC236}">
                <a16:creationId xmlns:a16="http://schemas.microsoft.com/office/drawing/2014/main" id="{02693770-B880-B229-F45C-F270DC4B6342}"/>
              </a:ext>
            </a:extLst>
          </p:cNvPr>
          <p:cNvPicPr>
            <a:picLocks noChangeAspect="1"/>
          </p:cNvPicPr>
          <p:nvPr/>
        </p:nvPicPr>
        <p:blipFill>
          <a:blip r:embed="rId8"/>
          <a:srcRect l="21658" t="68576" r="23611" b="24440"/>
          <a:stretch>
            <a:fillRect/>
          </a:stretch>
        </p:blipFill>
        <p:spPr>
          <a:xfrm>
            <a:off x="2058196" y="4868568"/>
            <a:ext cx="1687858" cy="369517"/>
          </a:xfrm>
          <a:prstGeom prst="rect">
            <a:avLst/>
          </a:prstGeom>
        </p:spPr>
      </p:pic>
      <p:pic>
        <p:nvPicPr>
          <p:cNvPr id="2" name="Picture 1">
            <a:extLst>
              <a:ext uri="{FF2B5EF4-FFF2-40B4-BE49-F238E27FC236}">
                <a16:creationId xmlns:a16="http://schemas.microsoft.com/office/drawing/2014/main" id="{4295EBB8-C9D1-CA30-5E12-CC796395FBB7}"/>
              </a:ext>
            </a:extLst>
          </p:cNvPr>
          <p:cNvPicPr>
            <a:picLocks noChangeAspect="1"/>
          </p:cNvPicPr>
          <p:nvPr/>
        </p:nvPicPr>
        <p:blipFill>
          <a:blip r:embed="rId9"/>
          <a:srcRect l="-124" t="-73" r="77519" b="43795"/>
          <a:stretch>
            <a:fillRect/>
          </a:stretch>
        </p:blipFill>
        <p:spPr>
          <a:xfrm>
            <a:off x="1800624" y="1751361"/>
            <a:ext cx="580599" cy="2839766"/>
          </a:xfrm>
          <a:prstGeom prst="rect">
            <a:avLst/>
          </a:prstGeom>
        </p:spPr>
      </p:pic>
      <p:pic>
        <p:nvPicPr>
          <p:cNvPr id="7" name="Picture 6">
            <a:extLst>
              <a:ext uri="{FF2B5EF4-FFF2-40B4-BE49-F238E27FC236}">
                <a16:creationId xmlns:a16="http://schemas.microsoft.com/office/drawing/2014/main" id="{EA0093F1-085A-13C3-AFB1-415DBAF7020B}"/>
              </a:ext>
            </a:extLst>
          </p:cNvPr>
          <p:cNvPicPr>
            <a:picLocks noChangeAspect="1"/>
          </p:cNvPicPr>
          <p:nvPr/>
        </p:nvPicPr>
        <p:blipFill>
          <a:blip r:embed="rId8"/>
          <a:srcRect l="78750" t="13628" r="4583" b="21920"/>
          <a:stretch>
            <a:fillRect/>
          </a:stretch>
        </p:blipFill>
        <p:spPr>
          <a:xfrm>
            <a:off x="3661526" y="2078935"/>
            <a:ext cx="398710" cy="3342492"/>
          </a:xfrm>
          <a:prstGeom prst="rect">
            <a:avLst/>
          </a:prstGeom>
        </p:spPr>
      </p:pic>
      <p:pic>
        <p:nvPicPr>
          <p:cNvPr id="12" name="Picture 11">
            <a:extLst>
              <a:ext uri="{FF2B5EF4-FFF2-40B4-BE49-F238E27FC236}">
                <a16:creationId xmlns:a16="http://schemas.microsoft.com/office/drawing/2014/main" id="{7B067445-7EAA-238D-71AB-77156BC137E3}"/>
              </a:ext>
            </a:extLst>
          </p:cNvPr>
          <p:cNvPicPr>
            <a:picLocks noChangeAspect="1"/>
          </p:cNvPicPr>
          <p:nvPr/>
        </p:nvPicPr>
        <p:blipFill>
          <a:blip r:embed="rId9"/>
          <a:srcRect l="-388" t="11834" r="77907" b="44055"/>
          <a:stretch>
            <a:fillRect/>
          </a:stretch>
        </p:blipFill>
        <p:spPr>
          <a:xfrm>
            <a:off x="5681033" y="2567552"/>
            <a:ext cx="577407" cy="2225794"/>
          </a:xfrm>
          <a:prstGeom prst="rect">
            <a:avLst/>
          </a:prstGeom>
        </p:spPr>
      </p:pic>
      <p:sp>
        <p:nvSpPr>
          <p:cNvPr id="15" name="正方形/長方形 14">
            <a:extLst>
              <a:ext uri="{FF2B5EF4-FFF2-40B4-BE49-F238E27FC236}">
                <a16:creationId xmlns:a16="http://schemas.microsoft.com/office/drawing/2014/main" id="{7ECF9464-7E17-F884-4A48-7F8C033E1ACF}"/>
              </a:ext>
            </a:extLst>
          </p:cNvPr>
          <p:cNvSpPr/>
          <p:nvPr/>
        </p:nvSpPr>
        <p:spPr>
          <a:xfrm>
            <a:off x="3536850" y="3428999"/>
            <a:ext cx="613476" cy="70484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16" name="正方形/長方形 15">
            <a:extLst>
              <a:ext uri="{FF2B5EF4-FFF2-40B4-BE49-F238E27FC236}">
                <a16:creationId xmlns:a16="http://schemas.microsoft.com/office/drawing/2014/main" id="{CB459F8D-0E46-DA2A-5187-9CF4FB15B98E}"/>
              </a:ext>
            </a:extLst>
          </p:cNvPr>
          <p:cNvSpPr/>
          <p:nvPr/>
        </p:nvSpPr>
        <p:spPr>
          <a:xfrm>
            <a:off x="6286648" y="5645696"/>
            <a:ext cx="1169229" cy="4837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22" name="正方形/長方形 21">
            <a:extLst>
              <a:ext uri="{FF2B5EF4-FFF2-40B4-BE49-F238E27FC236}">
                <a16:creationId xmlns:a16="http://schemas.microsoft.com/office/drawing/2014/main" id="{BB7C4D8F-CBA5-73B9-6268-67DD40F20D9F}"/>
              </a:ext>
            </a:extLst>
          </p:cNvPr>
          <p:cNvSpPr/>
          <p:nvPr/>
        </p:nvSpPr>
        <p:spPr>
          <a:xfrm>
            <a:off x="5775586" y="4026870"/>
            <a:ext cx="454208" cy="62580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18" name="Picture 17">
            <a:extLst>
              <a:ext uri="{FF2B5EF4-FFF2-40B4-BE49-F238E27FC236}">
                <a16:creationId xmlns:a16="http://schemas.microsoft.com/office/drawing/2014/main" id="{1A430EDB-6106-4BF9-E5FD-D04914087979}"/>
              </a:ext>
            </a:extLst>
          </p:cNvPr>
          <p:cNvPicPr>
            <a:picLocks noChangeAspect="1"/>
          </p:cNvPicPr>
          <p:nvPr/>
        </p:nvPicPr>
        <p:blipFill>
          <a:blip r:embed="rId10"/>
          <a:srcRect l="28534" t="29793" r="29214" b="47573"/>
          <a:stretch>
            <a:fillRect/>
          </a:stretch>
        </p:blipFill>
        <p:spPr>
          <a:xfrm>
            <a:off x="2448144" y="5241432"/>
            <a:ext cx="966397" cy="376990"/>
          </a:xfrm>
          <a:prstGeom prst="rect">
            <a:avLst/>
          </a:prstGeom>
        </p:spPr>
      </p:pic>
      <p:sp>
        <p:nvSpPr>
          <p:cNvPr id="23" name="正方形/長方形 22">
            <a:extLst>
              <a:ext uri="{FF2B5EF4-FFF2-40B4-BE49-F238E27FC236}">
                <a16:creationId xmlns:a16="http://schemas.microsoft.com/office/drawing/2014/main" id="{FFAA59BE-F94D-04DB-E8DC-A0ABF9059955}"/>
              </a:ext>
            </a:extLst>
          </p:cNvPr>
          <p:cNvSpPr/>
          <p:nvPr/>
        </p:nvSpPr>
        <p:spPr>
          <a:xfrm>
            <a:off x="2450123" y="5232375"/>
            <a:ext cx="956268" cy="3831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24" name="正方形/長方形 23">
            <a:extLst>
              <a:ext uri="{FF2B5EF4-FFF2-40B4-BE49-F238E27FC236}">
                <a16:creationId xmlns:a16="http://schemas.microsoft.com/office/drawing/2014/main" id="{F0155185-6DA8-0806-DCAC-1D84A4D37F70}"/>
              </a:ext>
            </a:extLst>
          </p:cNvPr>
          <p:cNvSpPr/>
          <p:nvPr/>
        </p:nvSpPr>
        <p:spPr>
          <a:xfrm>
            <a:off x="4438622" y="1832430"/>
            <a:ext cx="2772814" cy="1072822"/>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When you press Save Imag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A screenshot of this screen is saved as a positioning imag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Supports cloud synchronization.</a:t>
            </a:r>
            <a:endParaRPr kumimoji="1" lang="en-US" altLang="ja-JP" sz="1400" dirty="0">
              <a:solidFill>
                <a:schemeClr val="tx1"/>
              </a:solidFill>
              <a:latin typeface="Arial" pitchFamily="34" charset="0"/>
              <a:cs typeface="Arial" pitchFamily="34" charset="0"/>
            </a:endParaRPr>
          </a:p>
        </p:txBody>
      </p:sp>
      <p:cxnSp>
        <p:nvCxnSpPr>
          <p:cNvPr id="28" name="直線コネクタ 27">
            <a:extLst>
              <a:ext uri="{FF2B5EF4-FFF2-40B4-BE49-F238E27FC236}">
                <a16:creationId xmlns:a16="http://schemas.microsoft.com/office/drawing/2014/main" id="{1899C705-8DB9-D644-D260-D84A8814B3D7}"/>
              </a:ext>
            </a:extLst>
          </p:cNvPr>
          <p:cNvCxnSpPr>
            <a:cxnSpLocks/>
          </p:cNvCxnSpPr>
          <p:nvPr/>
        </p:nvCxnSpPr>
        <p:spPr>
          <a:xfrm>
            <a:off x="5705535" y="2919775"/>
            <a:ext cx="276425" cy="110596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E179B3A0-146D-1582-06B1-63A8F41E8504}"/>
              </a:ext>
            </a:extLst>
          </p:cNvPr>
          <p:cNvCxnSpPr>
            <a:cxnSpLocks/>
            <a:endCxn id="27" idx="1"/>
          </p:cNvCxnSpPr>
          <p:nvPr/>
        </p:nvCxnSpPr>
        <p:spPr>
          <a:xfrm>
            <a:off x="3469892" y="5384149"/>
            <a:ext cx="271734" cy="30321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7350B5D1-1A4E-29C8-2D41-1A926900F281}"/>
              </a:ext>
            </a:extLst>
          </p:cNvPr>
          <p:cNvCxnSpPr>
            <a:cxnSpLocks/>
            <a:stCxn id="27" idx="3"/>
          </p:cNvCxnSpPr>
          <p:nvPr/>
        </p:nvCxnSpPr>
        <p:spPr>
          <a:xfrm>
            <a:off x="6032557" y="5687366"/>
            <a:ext cx="285456" cy="16041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4FE1758-820B-CBC2-09FF-FC190963C989}"/>
              </a:ext>
            </a:extLst>
          </p:cNvPr>
          <p:cNvSpPr/>
          <p:nvPr/>
        </p:nvSpPr>
        <p:spPr>
          <a:xfrm>
            <a:off x="1799516" y="4373481"/>
            <a:ext cx="761276" cy="419493"/>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200" dirty="0" err="1">
              <a:solidFill>
                <a:schemeClr val="tx1"/>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D330EA14-6546-9993-ACF2-A1166213EC1B}"/>
              </a:ext>
            </a:extLst>
          </p:cNvPr>
          <p:cNvPicPr>
            <a:picLocks noChangeAspect="1"/>
          </p:cNvPicPr>
          <p:nvPr/>
        </p:nvPicPr>
        <p:blipFill>
          <a:blip r:embed="rId8"/>
          <a:srcRect l="76349" t="12966" r="4404" b="20921"/>
          <a:stretch>
            <a:fillRect/>
          </a:stretch>
        </p:blipFill>
        <p:spPr>
          <a:xfrm>
            <a:off x="7532257" y="2079427"/>
            <a:ext cx="460458" cy="3428589"/>
          </a:xfrm>
          <a:prstGeom prst="rect">
            <a:avLst/>
          </a:prstGeom>
        </p:spPr>
      </p:pic>
      <p:pic>
        <p:nvPicPr>
          <p:cNvPr id="10" name="Picture 9">
            <a:extLst>
              <a:ext uri="{FF2B5EF4-FFF2-40B4-BE49-F238E27FC236}">
                <a16:creationId xmlns:a16="http://schemas.microsoft.com/office/drawing/2014/main" id="{632322CC-E742-B924-F244-4A666388743F}"/>
              </a:ext>
            </a:extLst>
          </p:cNvPr>
          <p:cNvPicPr>
            <a:picLocks noChangeAspect="1"/>
          </p:cNvPicPr>
          <p:nvPr/>
        </p:nvPicPr>
        <p:blipFill>
          <a:blip r:embed="rId8"/>
          <a:srcRect l="76349" t="12966" r="4401" b="20973"/>
          <a:stretch>
            <a:fillRect/>
          </a:stretch>
        </p:blipFill>
        <p:spPr>
          <a:xfrm>
            <a:off x="7532194" y="2079427"/>
            <a:ext cx="460530" cy="3425892"/>
          </a:xfrm>
          <a:prstGeom prst="rect">
            <a:avLst/>
          </a:prstGeom>
        </p:spPr>
      </p:pic>
      <p:pic>
        <p:nvPicPr>
          <p:cNvPr id="11" name="Picture 10">
            <a:extLst>
              <a:ext uri="{FF2B5EF4-FFF2-40B4-BE49-F238E27FC236}">
                <a16:creationId xmlns:a16="http://schemas.microsoft.com/office/drawing/2014/main" id="{6F5530B4-271B-274C-07FB-6754C1AC758F}"/>
              </a:ext>
            </a:extLst>
          </p:cNvPr>
          <p:cNvPicPr>
            <a:picLocks noChangeAspect="1"/>
          </p:cNvPicPr>
          <p:nvPr/>
        </p:nvPicPr>
        <p:blipFill>
          <a:blip r:embed="rId8"/>
          <a:srcRect l="21658" t="68576" r="23611" b="24440"/>
          <a:stretch>
            <a:fillRect/>
          </a:stretch>
        </p:blipFill>
        <p:spPr>
          <a:xfrm>
            <a:off x="5972181" y="4798894"/>
            <a:ext cx="1568389" cy="449145"/>
          </a:xfrm>
          <a:prstGeom prst="rect">
            <a:avLst/>
          </a:prstGeom>
        </p:spPr>
      </p:pic>
      <p:sp>
        <p:nvSpPr>
          <p:cNvPr id="27" name="正方形/長方形 26">
            <a:extLst>
              <a:ext uri="{FF2B5EF4-FFF2-40B4-BE49-F238E27FC236}">
                <a16:creationId xmlns:a16="http://schemas.microsoft.com/office/drawing/2014/main" id="{275EB12F-0856-188E-0E62-D57AE0BDAAE0}"/>
              </a:ext>
            </a:extLst>
          </p:cNvPr>
          <p:cNvSpPr/>
          <p:nvPr/>
        </p:nvSpPr>
        <p:spPr>
          <a:xfrm>
            <a:off x="3741626" y="5111736"/>
            <a:ext cx="2290931" cy="115126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Press the Area button.</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When you tap the area you want to measure and press Start Calculation,</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The area is displayed.</a:t>
            </a:r>
            <a:endParaRPr kumimoji="1" lang="en-US" altLang="ja-JP" sz="14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174544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en-US" altLang="ja-JP" sz="2000" dirty="0"/>
              <a:t>[Check volume in the app] Measure volume on site</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Displaying Volume/Capacity in the Point Cloud Viewer</a:t>
            </a:r>
            <a:endParaRPr kumimoji="0" lang="en-US" altLang="ja-JP" sz="2000" b="1" i="0" u="none" strike="noStrike" kern="0" cap="none" spc="0" normalizeH="0" baseline="0">
              <a:ln>
                <a:noFill/>
              </a:ln>
              <a:solidFill>
                <a:srgbClr val="FFFFFF"/>
              </a:solidFill>
              <a:effectLst/>
              <a:uLnTx/>
              <a:uFillTx/>
              <a:latin typeface="Arial" pitchFamily="34" charset="0"/>
              <a:cs typeface="Arial" pitchFamily="34" charset="0"/>
            </a:endParaRP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584775"/>
          </a:xfrm>
          <a:prstGeom prst="rect">
            <a:avLst/>
          </a:prstGeom>
          <a:ln w="12700">
            <a:noFill/>
          </a:ln>
        </p:spPr>
        <p:txBody>
          <a:bodyPr wrap="square" rtlCol="0">
            <a:spAutoFit/>
          </a:bodyPr>
          <a:lstStyle/>
          <a:p>
            <a:r>
              <a:rPr kumimoji="1" lang="ja-JP" altLang="en-US" sz="1600" b="1">
                <a:latin typeface="Arial" pitchFamily="34" charset="0"/>
                <a:cs typeface="Arial" pitchFamily="34" charset="0"/>
              </a:rPr>
              <a:t>Open the point cloud from the app's data list to check various survey measurements on-site.</a:t>
            </a:r>
            <a:endParaRPr kumimoji="1" lang="en-US" altLang="ja-JP" sz="1600" b="1" dirty="0">
              <a:latin typeface="Arial" pitchFamily="34" charset="0"/>
              <a:cs typeface="Arial" pitchFamily="34" charset="0"/>
            </a:endParaRPr>
          </a:p>
          <a:p>
            <a:r>
              <a:rPr kumimoji="1" lang="en-US" altLang="ja-JP" sz="1600" b="1" dirty="0">
                <a:latin typeface="Arial" pitchFamily="34" charset="0"/>
                <a:cs typeface="Arial" pitchFamily="34" charset="0"/>
                <a:hlinkClick r:id="rId7"/>
              </a:rPr>
              <a:t>https://youtu.be/R7VNX-GOqMU</a:t>
            </a:r>
            <a:endParaRPr kumimoji="1" lang="en-US" altLang="ja-JP" sz="1600" b="1" dirty="0">
              <a:latin typeface="Arial" pitchFamily="34" charset="0"/>
              <a:cs typeface="Arial" pitchFamily="34" charset="0"/>
            </a:endParaRPr>
          </a:p>
        </p:txBody>
      </p:sp>
      <p:pic>
        <p:nvPicPr>
          <p:cNvPr id="2" name="図 1">
            <a:extLst>
              <a:ext uri="{FF2B5EF4-FFF2-40B4-BE49-F238E27FC236}">
                <a16:creationId xmlns:a16="http://schemas.microsoft.com/office/drawing/2014/main" id="{81DE8F61-8F92-F1EB-98CA-F1A0F978BBBD}"/>
              </a:ext>
            </a:extLst>
          </p:cNvPr>
          <p:cNvPicPr>
            <a:picLocks noChangeAspect="1"/>
          </p:cNvPicPr>
          <p:nvPr/>
        </p:nvPicPr>
        <p:blipFill>
          <a:blip r:embed="rId8"/>
          <a:stretch>
            <a:fillRect/>
          </a:stretch>
        </p:blipFill>
        <p:spPr>
          <a:xfrm>
            <a:off x="1743303" y="1681323"/>
            <a:ext cx="2303178" cy="4643805"/>
          </a:xfrm>
          <a:prstGeom prst="rect">
            <a:avLst/>
          </a:prstGeom>
        </p:spPr>
      </p:pic>
      <p:pic>
        <p:nvPicPr>
          <p:cNvPr id="4" name="図 3">
            <a:extLst>
              <a:ext uri="{FF2B5EF4-FFF2-40B4-BE49-F238E27FC236}">
                <a16:creationId xmlns:a16="http://schemas.microsoft.com/office/drawing/2014/main" id="{2356E18B-FDA0-5A7A-A531-563D479B33D0}"/>
              </a:ext>
            </a:extLst>
          </p:cNvPr>
          <p:cNvPicPr>
            <a:picLocks noChangeAspect="1"/>
          </p:cNvPicPr>
          <p:nvPr/>
        </p:nvPicPr>
        <p:blipFill>
          <a:blip r:embed="rId9"/>
          <a:stretch>
            <a:fillRect/>
          </a:stretch>
        </p:blipFill>
        <p:spPr>
          <a:xfrm>
            <a:off x="5825029" y="1681323"/>
            <a:ext cx="2321903" cy="4643805"/>
          </a:xfrm>
          <a:prstGeom prst="rect">
            <a:avLst/>
          </a:prstGeom>
        </p:spPr>
      </p:pic>
      <p:cxnSp>
        <p:nvCxnSpPr>
          <p:cNvPr id="15" name="直線コネクタ 14">
            <a:extLst>
              <a:ext uri="{FF2B5EF4-FFF2-40B4-BE49-F238E27FC236}">
                <a16:creationId xmlns:a16="http://schemas.microsoft.com/office/drawing/2014/main" id="{DFD6A060-8DB2-37F5-C127-B31CCBE8F408}"/>
              </a:ext>
            </a:extLst>
          </p:cNvPr>
          <p:cNvCxnSpPr>
            <a:cxnSpLocks/>
            <a:stCxn id="10" idx="3"/>
            <a:endCxn id="9" idx="1"/>
          </p:cNvCxnSpPr>
          <p:nvPr/>
        </p:nvCxnSpPr>
        <p:spPr>
          <a:xfrm>
            <a:off x="5982778" y="5727180"/>
            <a:ext cx="530564" cy="691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2AA1BA75-2519-5E53-0ECE-D14285BC8C61}"/>
              </a:ext>
            </a:extLst>
          </p:cNvPr>
          <p:cNvPicPr>
            <a:picLocks noChangeAspect="1"/>
          </p:cNvPicPr>
          <p:nvPr/>
        </p:nvPicPr>
        <p:blipFill>
          <a:blip r:embed="rId10"/>
          <a:srcRect l="2944" t="11858" r="78088" b="43834"/>
          <a:stretch>
            <a:fillRect/>
          </a:stretch>
        </p:blipFill>
        <p:spPr>
          <a:xfrm>
            <a:off x="5845635" y="2640299"/>
            <a:ext cx="453422" cy="2142852"/>
          </a:xfrm>
          <a:prstGeom prst="rect">
            <a:avLst/>
          </a:prstGeom>
        </p:spPr>
      </p:pic>
      <p:pic>
        <p:nvPicPr>
          <p:cNvPr id="27" name="Picture 26">
            <a:extLst>
              <a:ext uri="{FF2B5EF4-FFF2-40B4-BE49-F238E27FC236}">
                <a16:creationId xmlns:a16="http://schemas.microsoft.com/office/drawing/2014/main" id="{1DFEE37F-1221-9DC9-27EA-B79D4C5ECD13}"/>
              </a:ext>
            </a:extLst>
          </p:cNvPr>
          <p:cNvPicPr>
            <a:picLocks noChangeAspect="1"/>
          </p:cNvPicPr>
          <p:nvPr/>
        </p:nvPicPr>
        <p:blipFill>
          <a:blip r:embed="rId11"/>
          <a:srcRect l="76667" t="15253" r="2592" b="33531"/>
          <a:stretch>
            <a:fillRect/>
          </a:stretch>
        </p:blipFill>
        <p:spPr>
          <a:xfrm>
            <a:off x="7675680" y="2096305"/>
            <a:ext cx="472531" cy="2667817"/>
          </a:xfrm>
          <a:prstGeom prst="rect">
            <a:avLst/>
          </a:prstGeom>
        </p:spPr>
      </p:pic>
      <p:pic>
        <p:nvPicPr>
          <p:cNvPr id="28" name="Picture 27">
            <a:extLst>
              <a:ext uri="{FF2B5EF4-FFF2-40B4-BE49-F238E27FC236}">
                <a16:creationId xmlns:a16="http://schemas.microsoft.com/office/drawing/2014/main" id="{DB37D98C-1452-92E9-95F5-2948A6F1EBC9}"/>
              </a:ext>
            </a:extLst>
          </p:cNvPr>
          <p:cNvPicPr>
            <a:picLocks noChangeAspect="1"/>
          </p:cNvPicPr>
          <p:nvPr/>
        </p:nvPicPr>
        <p:blipFill>
          <a:blip r:embed="rId12"/>
          <a:srcRect l="157" t="66345" r="2246" b="-69"/>
          <a:stretch>
            <a:fillRect/>
          </a:stretch>
        </p:blipFill>
        <p:spPr>
          <a:xfrm>
            <a:off x="5935848" y="4671216"/>
            <a:ext cx="2204900" cy="1647652"/>
          </a:xfrm>
          <a:prstGeom prst="rect">
            <a:avLst/>
          </a:prstGeom>
        </p:spPr>
      </p:pic>
      <p:pic>
        <p:nvPicPr>
          <p:cNvPr id="25" name="Picture 24">
            <a:extLst>
              <a:ext uri="{FF2B5EF4-FFF2-40B4-BE49-F238E27FC236}">
                <a16:creationId xmlns:a16="http://schemas.microsoft.com/office/drawing/2014/main" id="{4F822A49-161D-8EFC-B417-BEE458B1259C}"/>
              </a:ext>
            </a:extLst>
          </p:cNvPr>
          <p:cNvPicPr>
            <a:picLocks noChangeAspect="1"/>
          </p:cNvPicPr>
          <p:nvPr/>
        </p:nvPicPr>
        <p:blipFill>
          <a:blip r:embed="rId13"/>
          <a:srcRect l="77032" t="13681" r="4742" b="32630"/>
          <a:stretch>
            <a:fillRect/>
          </a:stretch>
        </p:blipFill>
        <p:spPr>
          <a:xfrm>
            <a:off x="3604122" y="2031108"/>
            <a:ext cx="436046" cy="2784384"/>
          </a:xfrm>
          <a:prstGeom prst="rect">
            <a:avLst/>
          </a:prstGeom>
        </p:spPr>
      </p:pic>
      <p:pic>
        <p:nvPicPr>
          <p:cNvPr id="16" name="Picture 15">
            <a:extLst>
              <a:ext uri="{FF2B5EF4-FFF2-40B4-BE49-F238E27FC236}">
                <a16:creationId xmlns:a16="http://schemas.microsoft.com/office/drawing/2014/main" id="{D867257A-300C-90F4-F4AF-A2A83969042F}"/>
              </a:ext>
            </a:extLst>
          </p:cNvPr>
          <p:cNvPicPr>
            <a:picLocks noChangeAspect="1"/>
          </p:cNvPicPr>
          <p:nvPr/>
        </p:nvPicPr>
        <p:blipFill>
          <a:blip r:embed="rId10"/>
          <a:srcRect l="2944" t="11858" r="78088" b="43834"/>
          <a:stretch>
            <a:fillRect/>
          </a:stretch>
        </p:blipFill>
        <p:spPr>
          <a:xfrm>
            <a:off x="1742490" y="2548165"/>
            <a:ext cx="453422" cy="2142852"/>
          </a:xfrm>
          <a:prstGeom prst="rect">
            <a:avLst/>
          </a:prstGeom>
        </p:spPr>
      </p:pic>
      <p:pic>
        <p:nvPicPr>
          <p:cNvPr id="19" name="Picture 18">
            <a:extLst>
              <a:ext uri="{FF2B5EF4-FFF2-40B4-BE49-F238E27FC236}">
                <a16:creationId xmlns:a16="http://schemas.microsoft.com/office/drawing/2014/main" id="{0F4C6C46-D372-BF72-EBFD-99BCC56A75DA}"/>
              </a:ext>
            </a:extLst>
          </p:cNvPr>
          <p:cNvPicPr>
            <a:picLocks noChangeAspect="1"/>
          </p:cNvPicPr>
          <p:nvPr/>
        </p:nvPicPr>
        <p:blipFill>
          <a:blip r:embed="rId10"/>
          <a:srcRect l="-1028" t="-624" r="75981" b="95069"/>
          <a:stretch>
            <a:fillRect/>
          </a:stretch>
        </p:blipFill>
        <p:spPr>
          <a:xfrm>
            <a:off x="1740743" y="1709911"/>
            <a:ext cx="643312" cy="280309"/>
          </a:xfrm>
          <a:prstGeom prst="rect">
            <a:avLst/>
          </a:prstGeom>
        </p:spPr>
      </p:pic>
      <p:pic>
        <p:nvPicPr>
          <p:cNvPr id="23" name="Picture 22">
            <a:extLst>
              <a:ext uri="{FF2B5EF4-FFF2-40B4-BE49-F238E27FC236}">
                <a16:creationId xmlns:a16="http://schemas.microsoft.com/office/drawing/2014/main" id="{BE97A90F-9BF2-B578-3E6A-8F2BA2881FD6}"/>
              </a:ext>
            </a:extLst>
          </p:cNvPr>
          <p:cNvPicPr>
            <a:picLocks noChangeAspect="1"/>
          </p:cNvPicPr>
          <p:nvPr/>
        </p:nvPicPr>
        <p:blipFill>
          <a:blip r:embed="rId14"/>
          <a:srcRect l="9894" t="5932" r="3858" b="21835"/>
          <a:stretch>
            <a:fillRect/>
          </a:stretch>
        </p:blipFill>
        <p:spPr>
          <a:xfrm>
            <a:off x="1970015" y="4776406"/>
            <a:ext cx="2063436" cy="1434149"/>
          </a:xfrm>
          <a:prstGeom prst="rect">
            <a:avLst/>
          </a:prstGeom>
        </p:spPr>
      </p:pic>
      <p:pic>
        <p:nvPicPr>
          <p:cNvPr id="26" name="Picture 25">
            <a:extLst>
              <a:ext uri="{FF2B5EF4-FFF2-40B4-BE49-F238E27FC236}">
                <a16:creationId xmlns:a16="http://schemas.microsoft.com/office/drawing/2014/main" id="{E408968C-050E-6E64-7A56-F392C8783E08}"/>
              </a:ext>
            </a:extLst>
          </p:cNvPr>
          <p:cNvPicPr>
            <a:picLocks noChangeAspect="1"/>
          </p:cNvPicPr>
          <p:nvPr/>
        </p:nvPicPr>
        <p:blipFill>
          <a:blip r:embed="rId11"/>
          <a:srcRect l="75414" t="15039" r="2406" b="33744"/>
          <a:stretch>
            <a:fillRect/>
          </a:stretch>
        </p:blipFill>
        <p:spPr>
          <a:xfrm>
            <a:off x="3545370" y="2095359"/>
            <a:ext cx="505316" cy="2667889"/>
          </a:xfrm>
          <a:prstGeom prst="rect">
            <a:avLst/>
          </a:prstGeom>
        </p:spPr>
      </p:pic>
      <p:cxnSp>
        <p:nvCxnSpPr>
          <p:cNvPr id="13" name="直線コネクタ 12">
            <a:extLst>
              <a:ext uri="{FF2B5EF4-FFF2-40B4-BE49-F238E27FC236}">
                <a16:creationId xmlns:a16="http://schemas.microsoft.com/office/drawing/2014/main" id="{865B5671-745A-0004-F2EC-AFECCB44F750}"/>
              </a:ext>
            </a:extLst>
          </p:cNvPr>
          <p:cNvCxnSpPr>
            <a:cxnSpLocks/>
          </p:cNvCxnSpPr>
          <p:nvPr/>
        </p:nvCxnSpPr>
        <p:spPr>
          <a:xfrm>
            <a:off x="5695302" y="2796946"/>
            <a:ext cx="327591" cy="122879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正方形/長方形 6">
            <a:extLst>
              <a:ext uri="{FF2B5EF4-FFF2-40B4-BE49-F238E27FC236}">
                <a16:creationId xmlns:a16="http://schemas.microsoft.com/office/drawing/2014/main" id="{798FD92F-464F-BDD3-4CA4-471917875EC8}"/>
              </a:ext>
            </a:extLst>
          </p:cNvPr>
          <p:cNvSpPr/>
          <p:nvPr/>
        </p:nvSpPr>
        <p:spPr>
          <a:xfrm>
            <a:off x="4438622" y="1709628"/>
            <a:ext cx="2772814" cy="1072822"/>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When you press Save Imag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A screenshot of this screen is saved as a positioning imag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Supports cloud synchronization.</a:t>
            </a:r>
            <a:endParaRPr kumimoji="1" lang="en-US" altLang="ja-JP" sz="1400" dirty="0">
              <a:solidFill>
                <a:schemeClr val="tx1"/>
              </a:solidFill>
              <a:latin typeface="Arial" pitchFamily="34" charset="0"/>
              <a:cs typeface="Arial" pitchFamily="34" charset="0"/>
            </a:endParaRPr>
          </a:p>
        </p:txBody>
      </p:sp>
      <p:cxnSp>
        <p:nvCxnSpPr>
          <p:cNvPr id="18" name="直線コネクタ 17">
            <a:extLst>
              <a:ext uri="{FF2B5EF4-FFF2-40B4-BE49-F238E27FC236}">
                <a16:creationId xmlns:a16="http://schemas.microsoft.com/office/drawing/2014/main" id="{F8A43CFA-3C91-0C30-3D9B-2379B206DCD1}"/>
              </a:ext>
            </a:extLst>
          </p:cNvPr>
          <p:cNvCxnSpPr>
            <a:cxnSpLocks/>
            <a:stCxn id="11" idx="3"/>
            <a:endCxn id="10" idx="1"/>
          </p:cNvCxnSpPr>
          <p:nvPr/>
        </p:nvCxnSpPr>
        <p:spPr>
          <a:xfrm>
            <a:off x="3376247" y="5460950"/>
            <a:ext cx="315600" cy="26623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D7997A5D-D22B-D38F-E4D2-AA860D1B67FB}"/>
              </a:ext>
            </a:extLst>
          </p:cNvPr>
          <p:cNvSpPr/>
          <p:nvPr/>
        </p:nvSpPr>
        <p:spPr>
          <a:xfrm>
            <a:off x="6513342" y="5492194"/>
            <a:ext cx="1055077" cy="4837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12" name="正方形/長方形 11">
            <a:extLst>
              <a:ext uri="{FF2B5EF4-FFF2-40B4-BE49-F238E27FC236}">
                <a16:creationId xmlns:a16="http://schemas.microsoft.com/office/drawing/2014/main" id="{FC1521F1-CB7E-2AC8-E790-EB12B62D7715}"/>
              </a:ext>
            </a:extLst>
          </p:cNvPr>
          <p:cNvSpPr/>
          <p:nvPr/>
        </p:nvSpPr>
        <p:spPr>
          <a:xfrm>
            <a:off x="5836061" y="4056731"/>
            <a:ext cx="454208" cy="62580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11" name="正方形/長方形 10">
            <a:extLst>
              <a:ext uri="{FF2B5EF4-FFF2-40B4-BE49-F238E27FC236}">
                <a16:creationId xmlns:a16="http://schemas.microsoft.com/office/drawing/2014/main" id="{30C7E4C4-0A03-ED4D-25DC-EEEA202DFFD7}"/>
              </a:ext>
            </a:extLst>
          </p:cNvPr>
          <p:cNvSpPr/>
          <p:nvPr/>
        </p:nvSpPr>
        <p:spPr>
          <a:xfrm>
            <a:off x="2419979" y="5269361"/>
            <a:ext cx="956268" cy="3831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10" name="正方形/長方形 9">
            <a:extLst>
              <a:ext uri="{FF2B5EF4-FFF2-40B4-BE49-F238E27FC236}">
                <a16:creationId xmlns:a16="http://schemas.microsoft.com/office/drawing/2014/main" id="{35AC9463-BF3F-171E-4970-04397E1ED542}"/>
              </a:ext>
            </a:extLst>
          </p:cNvPr>
          <p:cNvSpPr/>
          <p:nvPr/>
        </p:nvSpPr>
        <p:spPr>
          <a:xfrm>
            <a:off x="3691847" y="5151550"/>
            <a:ext cx="2290931" cy="115126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Press the Volume button.</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Tap to outline the bottom surface of the area you want to measure,</a:t>
            </a:r>
            <a:endParaRPr kumimoji="1" lang="en-US" altLang="ja-JP" sz="1400" dirty="0">
              <a:solidFill>
                <a:schemeClr val="tx1"/>
              </a:solidFill>
              <a:latin typeface="Arial" pitchFamily="34" charset="0"/>
              <a:cs typeface="Arial" pitchFamily="34" charset="0"/>
            </a:endParaRPr>
          </a:p>
          <a:p>
            <a:r>
              <a:rPr kumimoji="1" lang="ja-JP" altLang="en-US" sz="1400">
                <a:solidFill>
                  <a:schemeClr val="tx1"/>
                </a:solidFill>
                <a:latin typeface="Arial" pitchFamily="34" charset="0"/>
                <a:cs typeface="Arial" pitchFamily="34" charset="0"/>
              </a:rPr>
              <a:t>Press "Start Calculation."</a:t>
            </a:r>
            <a:endParaRPr kumimoji="1" lang="en-US" altLang="ja-JP" sz="1400" dirty="0">
              <a:solidFill>
                <a:schemeClr val="tx1"/>
              </a:solidFill>
              <a:latin typeface="Arial" pitchFamily="34" charset="0"/>
              <a:cs typeface="Arial" pitchFamily="34" charset="0"/>
            </a:endParaRPr>
          </a:p>
        </p:txBody>
      </p:sp>
      <p:sp>
        <p:nvSpPr>
          <p:cNvPr id="8" name="正方形/長方形 7">
            <a:extLst>
              <a:ext uri="{FF2B5EF4-FFF2-40B4-BE49-F238E27FC236}">
                <a16:creationId xmlns:a16="http://schemas.microsoft.com/office/drawing/2014/main" id="{6F26E7B5-DE77-7E71-5CE5-4B6B13AF08CB}"/>
              </a:ext>
            </a:extLst>
          </p:cNvPr>
          <p:cNvSpPr/>
          <p:nvPr/>
        </p:nvSpPr>
        <p:spPr>
          <a:xfrm>
            <a:off x="3528406" y="4034252"/>
            <a:ext cx="613476" cy="63053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241800747"/>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ja-JP" altLang="en-US" sz="2000"/>
              <a:t>Launch the 3D viewer in the cloud</a:t>
            </a:r>
            <a:endParaRPr lang="en-US" altLang="ja-JP" sz="2000" dirty="0"/>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en-US" altLang="ja-JP" sz="2000" b="1" kern="0" dirty="0">
                <a:solidFill>
                  <a:srgbClr val="FFFFFF"/>
                </a:solidFill>
                <a:latin typeface="Arial" pitchFamily="34" charset="0"/>
                <a:cs typeface="Arial" pitchFamily="34" charset="0"/>
              </a:rPr>
              <a:t>How to start the 3D Viewer</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523220"/>
          </a:xfrm>
          <a:prstGeom prst="rect">
            <a:avLst/>
          </a:prstGeom>
          <a:ln w="12700">
            <a:noFill/>
          </a:ln>
        </p:spPr>
        <p:txBody>
          <a:bodyPr wrap="square" rtlCol="0">
            <a:spAutoFit/>
          </a:bodyPr>
          <a:lstStyle/>
          <a:p>
            <a:r>
              <a:rPr kumimoji="1" lang="en-US" altLang="ja-JP" sz="1400" b="1" dirty="0">
                <a:latin typeface="Arial" pitchFamily="34" charset="0"/>
                <a:cs typeface="Arial" pitchFamily="34" charset="0"/>
              </a:rPr>
              <a:t>You can obtain absolute coordinates from point clouds acquired with LRTK Cloud. After synchronizing the point cloud data to the cloud, press the "3D" button for the point cloud you want to view to display it.</a:t>
            </a:r>
          </a:p>
        </p:txBody>
      </p:sp>
      <p:pic>
        <p:nvPicPr>
          <p:cNvPr id="10" name="図 9">
            <a:extLst>
              <a:ext uri="{FF2B5EF4-FFF2-40B4-BE49-F238E27FC236}">
                <a16:creationId xmlns:a16="http://schemas.microsoft.com/office/drawing/2014/main" id="{C0AF773C-4A72-4317-9F07-2426C6F22DD0}"/>
              </a:ext>
            </a:extLst>
          </p:cNvPr>
          <p:cNvPicPr>
            <a:picLocks noChangeAspect="1"/>
          </p:cNvPicPr>
          <p:nvPr/>
        </p:nvPicPr>
        <p:blipFill>
          <a:blip r:embed="rId6"/>
          <a:srcRect t="33531" r="353" b="297"/>
          <a:stretch>
            <a:fillRect/>
          </a:stretch>
        </p:blipFill>
        <p:spPr>
          <a:xfrm>
            <a:off x="375618" y="1714719"/>
            <a:ext cx="3213222" cy="2533470"/>
          </a:xfrm>
          <a:prstGeom prst="rect">
            <a:avLst/>
          </a:prstGeom>
          <a:ln>
            <a:solidFill>
              <a:schemeClr val="accent1"/>
            </a:solidFill>
          </a:ln>
        </p:spPr>
      </p:pic>
      <p:sp>
        <p:nvSpPr>
          <p:cNvPr id="12" name="正方形/長方形 11">
            <a:extLst>
              <a:ext uri="{FF2B5EF4-FFF2-40B4-BE49-F238E27FC236}">
                <a16:creationId xmlns:a16="http://schemas.microsoft.com/office/drawing/2014/main" id="{7A286E28-385A-DB04-4C3A-45382E0D8556}"/>
              </a:ext>
            </a:extLst>
          </p:cNvPr>
          <p:cNvSpPr/>
          <p:nvPr/>
        </p:nvSpPr>
        <p:spPr>
          <a:xfrm>
            <a:off x="1636518" y="3594778"/>
            <a:ext cx="337755" cy="18832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15" name="図 14">
            <a:extLst>
              <a:ext uri="{FF2B5EF4-FFF2-40B4-BE49-F238E27FC236}">
                <a16:creationId xmlns:a16="http://schemas.microsoft.com/office/drawing/2014/main" id="{24B573E7-899B-F5F0-691F-C4308296B06D}"/>
              </a:ext>
            </a:extLst>
          </p:cNvPr>
          <p:cNvPicPr>
            <a:picLocks noChangeAspect="1"/>
          </p:cNvPicPr>
          <p:nvPr/>
        </p:nvPicPr>
        <p:blipFill>
          <a:blip r:embed="rId7"/>
          <a:stretch>
            <a:fillRect/>
          </a:stretch>
        </p:blipFill>
        <p:spPr>
          <a:xfrm>
            <a:off x="4352366" y="1980931"/>
            <a:ext cx="4164954" cy="4070375"/>
          </a:xfrm>
          <a:prstGeom prst="rect">
            <a:avLst/>
          </a:prstGeom>
          <a:ln>
            <a:solidFill>
              <a:schemeClr val="accent1"/>
            </a:solidFill>
          </a:ln>
        </p:spPr>
      </p:pic>
      <p:sp>
        <p:nvSpPr>
          <p:cNvPr id="16" name="矢印: 右 15">
            <a:extLst>
              <a:ext uri="{FF2B5EF4-FFF2-40B4-BE49-F238E27FC236}">
                <a16:creationId xmlns:a16="http://schemas.microsoft.com/office/drawing/2014/main" id="{AF9157D5-A8D0-9840-DC39-3E799C6BD19C}"/>
              </a:ext>
            </a:extLst>
          </p:cNvPr>
          <p:cNvSpPr/>
          <p:nvPr/>
        </p:nvSpPr>
        <p:spPr>
          <a:xfrm>
            <a:off x="3719985" y="3594266"/>
            <a:ext cx="497477" cy="704850"/>
          </a:xfrm>
          <a:prstGeom prst="right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809512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en-US" altLang="ja-JP" sz="1800" dirty="0"/>
              <a:t>Get coordinates in the cloud: How to obtain absolute coordinates from a point cloud</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How to obtain absolute coordinates from a point cloud</a:t>
            </a:r>
            <a:endParaRPr kumimoji="0" lang="en-US" sz="2000" b="1" i="0" u="none" strike="noStrike" kern="0" cap="none" spc="0" normalizeH="0" baseline="0">
              <a:ln>
                <a:noFill/>
              </a:ln>
              <a:solidFill>
                <a:srgbClr val="FFFFFF"/>
              </a:solidFill>
              <a:effectLst/>
              <a:uLnTx/>
              <a:uFillTx/>
              <a:latin typeface="Arial" pitchFamily="34" charset="0"/>
              <a:cs typeface="Arial" pitchFamily="34" charset="0"/>
            </a:endParaRPr>
          </a:p>
        </p:txBody>
      </p:sp>
      <p:sp>
        <p:nvSpPr>
          <p:cNvPr id="46" name="テキスト ボックス 45">
            <a:extLst>
              <a:ext uri="{FF2B5EF4-FFF2-40B4-BE49-F238E27FC236}">
                <a16:creationId xmlns:a16="http://schemas.microsoft.com/office/drawing/2014/main" id="{4468475E-7A65-95D0-CE32-9C2F5BED2831}"/>
              </a:ext>
            </a:extLst>
          </p:cNvPr>
          <p:cNvSpPr txBox="1"/>
          <p:nvPr/>
        </p:nvSpPr>
        <p:spPr>
          <a:xfrm>
            <a:off x="2995" y="447630"/>
            <a:ext cx="9903006" cy="738664"/>
          </a:xfrm>
          <a:prstGeom prst="rect">
            <a:avLst/>
          </a:prstGeom>
          <a:ln w="12700">
            <a:noFill/>
          </a:ln>
        </p:spPr>
        <p:txBody>
          <a:bodyPr wrap="square" rtlCol="0">
            <a:spAutoFit/>
          </a:bodyPr>
          <a:lstStyle/>
          <a:p>
            <a:r>
              <a:rPr kumimoji="1" lang="ja-JP" altLang="en-US" sz="1400" b="1">
                <a:latin typeface="Arial" pitchFamily="34" charset="0"/>
                <a:cs typeface="Arial" pitchFamily="34" charset="0"/>
              </a:rPr>
              <a:t>On the coordinate display at the lower right, press the Register button and click one or more points where you want to obtain coordinates.</a:t>
            </a:r>
            <a:endParaRPr kumimoji="1" lang="en-US" altLang="ja-JP" sz="1400" b="1" dirty="0">
              <a:latin typeface="Arial" pitchFamily="34" charset="0"/>
              <a:cs typeface="Arial" pitchFamily="34" charset="0"/>
            </a:endParaRPr>
          </a:p>
          <a:p>
            <a:r>
              <a:rPr kumimoji="1" lang="ja-JP" altLang="en-US" sz="1400" b="1">
                <a:latin typeface="Arial" pitchFamily="34" charset="0"/>
                <a:cs typeface="Arial" pitchFamily="34" charset="0"/>
              </a:rPr>
              <a:t>When you press the Register button, it will be added to the data list as positioning data.</a:t>
            </a:r>
            <a:endParaRPr kumimoji="1" lang="en-US" altLang="ja-JP" sz="1400" b="1" dirty="0">
              <a:latin typeface="Arial" pitchFamily="34" charset="0"/>
              <a:cs typeface="Arial" pitchFamily="34" charset="0"/>
            </a:endParaRPr>
          </a:p>
        </p:txBody>
      </p:sp>
      <p:pic>
        <p:nvPicPr>
          <p:cNvPr id="2" name="図 1">
            <a:extLst>
              <a:ext uri="{FF2B5EF4-FFF2-40B4-BE49-F238E27FC236}">
                <a16:creationId xmlns:a16="http://schemas.microsoft.com/office/drawing/2014/main" id="{BF49621B-98BC-1537-BBD1-CE762610D6AE}"/>
              </a:ext>
            </a:extLst>
          </p:cNvPr>
          <p:cNvPicPr>
            <a:picLocks noChangeAspect="1"/>
          </p:cNvPicPr>
          <p:nvPr/>
        </p:nvPicPr>
        <p:blipFill>
          <a:blip r:embed="rId6"/>
          <a:stretch>
            <a:fillRect/>
          </a:stretch>
        </p:blipFill>
        <p:spPr>
          <a:xfrm>
            <a:off x="1999372" y="1808852"/>
            <a:ext cx="5882217" cy="4350253"/>
          </a:xfrm>
          <a:prstGeom prst="rect">
            <a:avLst/>
          </a:prstGeom>
        </p:spPr>
      </p:pic>
      <p:sp>
        <p:nvSpPr>
          <p:cNvPr id="6" name="正方形/長方形 5">
            <a:extLst>
              <a:ext uri="{FF2B5EF4-FFF2-40B4-BE49-F238E27FC236}">
                <a16:creationId xmlns:a16="http://schemas.microsoft.com/office/drawing/2014/main" id="{EC45547A-99EF-2B2C-75EB-61C95D97030D}"/>
              </a:ext>
            </a:extLst>
          </p:cNvPr>
          <p:cNvSpPr/>
          <p:nvPr/>
        </p:nvSpPr>
        <p:spPr>
          <a:xfrm>
            <a:off x="6147302" y="2914390"/>
            <a:ext cx="1802873" cy="24367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85691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5CC15-6A9B-5F7B-E298-FCCD10A2D014}"/>
            </a:ext>
          </a:extLst>
        </p:cNvPr>
        <p:cNvGrpSpPr/>
        <p:nvPr/>
      </p:nvGrpSpPr>
      <p:grpSpPr>
        <a:xfrm>
          <a:off x="0" y="0"/>
          <a:ext cx="0" cy="0"/>
          <a:chOff x="0" y="0"/>
          <a:chExt cx="0" cy="0"/>
        </a:xfrm>
      </p:grpSpPr>
      <p:pic>
        <p:nvPicPr>
          <p:cNvPr id="4" name="図 3">
            <a:extLst>
              <a:ext uri="{FF2B5EF4-FFF2-40B4-BE49-F238E27FC236}">
                <a16:creationId xmlns:a16="http://schemas.microsoft.com/office/drawing/2014/main" id="{0179C332-E6B7-5066-D7C0-E769CF26F6CE}"/>
              </a:ext>
            </a:extLst>
          </p:cNvPr>
          <p:cNvPicPr>
            <a:picLocks noChangeAspect="1"/>
          </p:cNvPicPr>
          <p:nvPr/>
        </p:nvPicPr>
        <p:blipFill>
          <a:blip r:embed="rId4"/>
          <a:stretch>
            <a:fillRect/>
          </a:stretch>
        </p:blipFill>
        <p:spPr>
          <a:xfrm>
            <a:off x="1865836" y="1746201"/>
            <a:ext cx="6149288" cy="4532156"/>
          </a:xfrm>
          <a:prstGeom prst="rect">
            <a:avLst/>
          </a:prstGeom>
        </p:spPr>
      </p:pic>
      <p:sp>
        <p:nvSpPr>
          <p:cNvPr id="3" name="Content Placeholder 2">
            <a:extLst>
              <a:ext uri="{FF2B5EF4-FFF2-40B4-BE49-F238E27FC236}">
                <a16:creationId xmlns:a16="http://schemas.microsoft.com/office/drawing/2014/main" id="{3F5CE767-94FA-D6D1-C397-23547079425E}"/>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4FAEDFE1-C4E3-5B6E-2343-7394644875BE}"/>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4FAEDFE1-C4E3-5B6E-2343-7394644875BE}"/>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0F09414A-BD98-DD11-E467-4932A10DF48F}"/>
              </a:ext>
            </a:extLst>
          </p:cNvPr>
          <p:cNvSpPr>
            <a:spLocks noGrp="1"/>
          </p:cNvSpPr>
          <p:nvPr>
            <p:ph type="body" sz="quarter" idx="12"/>
          </p:nvPr>
        </p:nvSpPr>
        <p:spPr/>
        <p:txBody>
          <a:bodyPr/>
          <a:lstStyle/>
          <a:p>
            <a:r>
              <a:rPr lang="en-US" altLang="ja-JP" sz="1600" dirty="0"/>
              <a:t>[Get distance from a point cloud] How to obtain distances from a point cloud</a:t>
            </a:r>
          </a:p>
        </p:txBody>
      </p:sp>
      <p:sp>
        <p:nvSpPr>
          <p:cNvPr id="5" name="Rectangle 3">
            <a:extLst>
              <a:ext uri="{FF2B5EF4-FFF2-40B4-BE49-F238E27FC236}">
                <a16:creationId xmlns:a16="http://schemas.microsoft.com/office/drawing/2014/main" id="{9A9B56B4-A6B2-88F9-5E83-120EE78D9DE4}"/>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How to extract line segment data from a point cloud</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46" name="テキスト ボックス 45">
            <a:extLst>
              <a:ext uri="{FF2B5EF4-FFF2-40B4-BE49-F238E27FC236}">
                <a16:creationId xmlns:a16="http://schemas.microsoft.com/office/drawing/2014/main" id="{5CDC0209-D522-E084-46F7-69A98B8AD02E}"/>
              </a:ext>
            </a:extLst>
          </p:cNvPr>
          <p:cNvSpPr txBox="1"/>
          <p:nvPr/>
        </p:nvSpPr>
        <p:spPr>
          <a:xfrm>
            <a:off x="2995" y="447630"/>
            <a:ext cx="9903006" cy="738664"/>
          </a:xfrm>
          <a:prstGeom prst="rect">
            <a:avLst/>
          </a:prstGeom>
          <a:ln w="12700">
            <a:noFill/>
          </a:ln>
        </p:spPr>
        <p:txBody>
          <a:bodyPr wrap="square" rtlCol="0">
            <a:spAutoFit/>
          </a:bodyPr>
          <a:lstStyle/>
          <a:p>
            <a:r>
              <a:rPr kumimoji="1" lang="ja-JP" altLang="en-US" sz="1400" b="1">
                <a:latin typeface="Arial" pitchFamily="34" charset="0"/>
                <a:cs typeface="Arial" pitchFamily="34" charset="0"/>
              </a:rPr>
              <a:t>Press the "Distance/Gradient" button at the bottom right and click the two endpoints of the line you want to measure. Press the "Register" button to add the line segment to the data list. The line segment data can be downloaded as a DXF.</a:t>
            </a:r>
            <a:endParaRPr kumimoji="1" lang="en-US" altLang="ja-JP" sz="1400" b="1" dirty="0">
              <a:latin typeface="Arial" pitchFamily="34" charset="0"/>
              <a:cs typeface="Arial" pitchFamily="34" charset="0"/>
            </a:endParaRPr>
          </a:p>
        </p:txBody>
      </p:sp>
      <p:sp>
        <p:nvSpPr>
          <p:cNvPr id="6" name="正方形/長方形 5">
            <a:extLst>
              <a:ext uri="{FF2B5EF4-FFF2-40B4-BE49-F238E27FC236}">
                <a16:creationId xmlns:a16="http://schemas.microsoft.com/office/drawing/2014/main" id="{2C6C1C85-AD22-20AB-5011-69B7C6236C3B}"/>
              </a:ext>
            </a:extLst>
          </p:cNvPr>
          <p:cNvSpPr/>
          <p:nvPr/>
        </p:nvSpPr>
        <p:spPr>
          <a:xfrm>
            <a:off x="5989096" y="3024456"/>
            <a:ext cx="2027445" cy="24367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696620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85051-E8C3-0996-B8E7-A4D4765B2B28}"/>
            </a:ext>
          </a:extLst>
        </p:cNvPr>
        <p:cNvGrpSpPr/>
        <p:nvPr/>
      </p:nvGrpSpPr>
      <p:grpSpPr>
        <a:xfrm>
          <a:off x="0" y="0"/>
          <a:ext cx="0" cy="0"/>
          <a:chOff x="0" y="0"/>
          <a:chExt cx="0" cy="0"/>
        </a:xfrm>
      </p:grpSpPr>
      <p:pic>
        <p:nvPicPr>
          <p:cNvPr id="2" name="図 1">
            <a:extLst>
              <a:ext uri="{FF2B5EF4-FFF2-40B4-BE49-F238E27FC236}">
                <a16:creationId xmlns:a16="http://schemas.microsoft.com/office/drawing/2014/main" id="{92EDE392-11E6-5BB9-EAF5-42CB7E913546}"/>
              </a:ext>
            </a:extLst>
          </p:cNvPr>
          <p:cNvPicPr>
            <a:picLocks noChangeAspect="1"/>
          </p:cNvPicPr>
          <p:nvPr/>
        </p:nvPicPr>
        <p:blipFill>
          <a:blip r:embed="rId4"/>
          <a:stretch>
            <a:fillRect/>
          </a:stretch>
        </p:blipFill>
        <p:spPr>
          <a:xfrm>
            <a:off x="2658030" y="1711902"/>
            <a:ext cx="4598045" cy="4717335"/>
          </a:xfrm>
          <a:prstGeom prst="rect">
            <a:avLst/>
          </a:prstGeom>
        </p:spPr>
      </p:pic>
      <p:sp>
        <p:nvSpPr>
          <p:cNvPr id="3" name="Content Placeholder 2">
            <a:extLst>
              <a:ext uri="{FF2B5EF4-FFF2-40B4-BE49-F238E27FC236}">
                <a16:creationId xmlns:a16="http://schemas.microsoft.com/office/drawing/2014/main" id="{9F5DDA6F-5CAB-D56D-6365-FC3A4989AC15}"/>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196E17D3-AA86-AE78-0DF5-8D8F8E7411E3}"/>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196E17D3-AA86-AE78-0DF5-8D8F8E7411E3}"/>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8197B0AD-83C4-19C6-D735-71E572FDBA23}"/>
              </a:ext>
            </a:extLst>
          </p:cNvPr>
          <p:cNvSpPr>
            <a:spLocks noGrp="1"/>
          </p:cNvSpPr>
          <p:nvPr>
            <p:ph type="body" sz="quarter" idx="12"/>
          </p:nvPr>
        </p:nvSpPr>
        <p:spPr/>
        <p:txBody>
          <a:bodyPr/>
          <a:lstStyle/>
          <a:p>
            <a:r>
              <a:rPr lang="en-US" altLang="ja-JP" sz="1400" dirty="0"/>
              <a:t>[Get trajectory distance in the cloud] How to obtain trajectory distance from a point cloud</a:t>
            </a:r>
          </a:p>
        </p:txBody>
      </p:sp>
      <p:sp>
        <p:nvSpPr>
          <p:cNvPr id="5" name="Rectangle 3">
            <a:extLst>
              <a:ext uri="{FF2B5EF4-FFF2-40B4-BE49-F238E27FC236}">
                <a16:creationId xmlns:a16="http://schemas.microsoft.com/office/drawing/2014/main" id="{FD733D21-D2C2-3852-D855-5CBB827D6D95}"/>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How to extract line segment data from a point cloud</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46" name="テキスト ボックス 45">
            <a:extLst>
              <a:ext uri="{FF2B5EF4-FFF2-40B4-BE49-F238E27FC236}">
                <a16:creationId xmlns:a16="http://schemas.microsoft.com/office/drawing/2014/main" id="{14C19EEA-6DB2-E770-D4D4-7676A02FC72B}"/>
              </a:ext>
            </a:extLst>
          </p:cNvPr>
          <p:cNvSpPr txBox="1"/>
          <p:nvPr/>
        </p:nvSpPr>
        <p:spPr>
          <a:xfrm>
            <a:off x="2995" y="447630"/>
            <a:ext cx="9903006" cy="738664"/>
          </a:xfrm>
          <a:prstGeom prst="rect">
            <a:avLst/>
          </a:prstGeom>
          <a:ln w="12700">
            <a:noFill/>
          </a:ln>
        </p:spPr>
        <p:txBody>
          <a:bodyPr wrap="square" rtlCol="0">
            <a:spAutoFit/>
          </a:bodyPr>
          <a:lstStyle/>
          <a:p>
            <a:r>
              <a:rPr kumimoji="1" lang="ja-JP" altLang="en-US" sz="1400" b="1">
                <a:latin typeface="Arial" pitchFamily="34" charset="0"/>
                <a:cs typeface="Arial" pitchFamily="34" charset="0"/>
              </a:rPr>
              <a:t>Click the "Continuous Distance Measurement" button at the lower right, then click the inflection points of the path you want to measure. Press the Register button to add it to the data list as line segment data. It can be downloaded as a DXF.</a:t>
            </a:r>
            <a:endParaRPr kumimoji="1" lang="en-US" altLang="ja-JP" sz="1400" b="1" dirty="0">
              <a:latin typeface="Arial" pitchFamily="34" charset="0"/>
              <a:cs typeface="Arial" pitchFamily="34" charset="0"/>
            </a:endParaRPr>
          </a:p>
        </p:txBody>
      </p:sp>
      <p:sp>
        <p:nvSpPr>
          <p:cNvPr id="6" name="正方形/長方形 5">
            <a:extLst>
              <a:ext uri="{FF2B5EF4-FFF2-40B4-BE49-F238E27FC236}">
                <a16:creationId xmlns:a16="http://schemas.microsoft.com/office/drawing/2014/main" id="{57A747FE-15DB-5913-C8DE-9260E03BAE82}"/>
              </a:ext>
            </a:extLst>
          </p:cNvPr>
          <p:cNvSpPr/>
          <p:nvPr/>
        </p:nvSpPr>
        <p:spPr>
          <a:xfrm>
            <a:off x="4484932" y="3185322"/>
            <a:ext cx="2756669" cy="24367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975578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9EB7D-38BF-18D2-E9E5-D8A004360A0B}"/>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9B49724-E413-2B23-541D-EF86512C512A}"/>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sz="1200"/>
              <a:t>Click to specify the bottom surface of the area you want to measure. Calculates the volume above the surface and the volume below the surface.</a:t>
            </a:r>
            <a:endParaRPr lang="en-US" altLang="ja-JP" sz="12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p:txBody>
      </p:sp>
      <p:graphicFrame>
        <p:nvGraphicFramePr>
          <p:cNvPr id="14" name="Object 13" hidden="1">
            <a:extLst>
              <a:ext uri="{FF2B5EF4-FFF2-40B4-BE49-F238E27FC236}">
                <a16:creationId xmlns:a16="http://schemas.microsoft.com/office/drawing/2014/main" id="{E77099ED-4B97-CC1A-F9CB-20ADB2087CB5}"/>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E77099ED-4B97-CC1A-F9CB-20ADB2087CB5}"/>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A535FACE-2887-0C0B-7DCF-A4B6ADF6F8CA}"/>
              </a:ext>
            </a:extLst>
          </p:cNvPr>
          <p:cNvSpPr>
            <a:spLocks noGrp="1"/>
          </p:cNvSpPr>
          <p:nvPr>
            <p:ph type="body" sz="quarter" idx="12"/>
          </p:nvPr>
        </p:nvSpPr>
        <p:spPr/>
        <p:txBody>
          <a:bodyPr/>
          <a:lstStyle/>
          <a:p>
            <a:r>
              <a:rPr lang="en-US" altLang="ja-JP" sz="1600" dirty="0"/>
              <a:t>[Obtain Volume in the Cloud] How to obtain volume and capacity from point clouds</a:t>
            </a:r>
          </a:p>
        </p:txBody>
      </p:sp>
      <p:sp>
        <p:nvSpPr>
          <p:cNvPr id="5" name="Rectangle 3">
            <a:extLst>
              <a:ext uri="{FF2B5EF4-FFF2-40B4-BE49-F238E27FC236}">
                <a16:creationId xmlns:a16="http://schemas.microsoft.com/office/drawing/2014/main" id="{5DEA1BB5-CA21-DB39-8EDF-62BA8FD04404}"/>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How to obtain volume data from point clouds</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46" name="テキスト ボックス 45">
            <a:extLst>
              <a:ext uri="{FF2B5EF4-FFF2-40B4-BE49-F238E27FC236}">
                <a16:creationId xmlns:a16="http://schemas.microsoft.com/office/drawing/2014/main" id="{CB21EFE0-43A4-6E95-EBBB-D784B1C79DFF}"/>
              </a:ext>
            </a:extLst>
          </p:cNvPr>
          <p:cNvSpPr txBox="1"/>
          <p:nvPr/>
        </p:nvSpPr>
        <p:spPr>
          <a:xfrm>
            <a:off x="2995" y="447630"/>
            <a:ext cx="9903006" cy="523220"/>
          </a:xfrm>
          <a:prstGeom prst="rect">
            <a:avLst/>
          </a:prstGeom>
          <a:ln w="12700">
            <a:noFill/>
          </a:ln>
        </p:spPr>
        <p:txBody>
          <a:bodyPr wrap="square" lIns="91440" tIns="45720" rIns="91440" bIns="45720" rtlCol="0" anchor="t">
            <a:spAutoFit/>
          </a:bodyPr>
          <a:lstStyle/>
          <a:p>
            <a:r>
              <a:rPr kumimoji="1" lang="ja-JP" altLang="en-US" sz="1400" b="1">
                <a:latin typeface="Arial" pitchFamily="34" charset="0"/>
                <a:cs typeface="Arial" pitchFamily="34" charset="0"/>
              </a:rPr>
              <a:t>Press the "Volume/Capacity Calculation" button at the bottom right and follow the steps shown in the video.</a:t>
            </a:r>
            <a:endParaRPr kumimoji="1" lang="en-US" altLang="ja-JP" sz="1400" b="1" dirty="0">
              <a:latin typeface="Arial" pitchFamily="34" charset="0"/>
              <a:cs typeface="Arial" pitchFamily="34" charset="0"/>
            </a:endParaRPr>
          </a:p>
          <a:p>
            <a:r>
              <a:rPr lang="en-US" sz="1400" dirty="0">
                <a:ea typeface="+mn-lt"/>
                <a:cs typeface="+mn-lt"/>
                <a:hlinkClick r:id="rId6"/>
              </a:rPr>
              <a:t>https://youtu.be/RasB_SXQFyA?si=kx0A0nbq2A8rR7-s</a:t>
            </a:r>
            <a:endParaRPr lang="en-US">
              <a:ea typeface="+mn-lt"/>
              <a:cs typeface="+mn-lt"/>
            </a:endParaRPr>
          </a:p>
        </p:txBody>
      </p:sp>
      <p:pic>
        <p:nvPicPr>
          <p:cNvPr id="4" name="図 3">
            <a:extLst>
              <a:ext uri="{FF2B5EF4-FFF2-40B4-BE49-F238E27FC236}">
                <a16:creationId xmlns:a16="http://schemas.microsoft.com/office/drawing/2014/main" id="{210BF060-B081-4713-2D2D-62EB7D082B95}"/>
              </a:ext>
            </a:extLst>
          </p:cNvPr>
          <p:cNvPicPr>
            <a:picLocks noChangeAspect="1"/>
          </p:cNvPicPr>
          <p:nvPr/>
        </p:nvPicPr>
        <p:blipFill>
          <a:blip r:embed="rId7"/>
          <a:stretch>
            <a:fillRect/>
          </a:stretch>
        </p:blipFill>
        <p:spPr>
          <a:xfrm>
            <a:off x="1066800" y="2166578"/>
            <a:ext cx="7772400" cy="4147440"/>
          </a:xfrm>
          <a:prstGeom prst="rect">
            <a:avLst/>
          </a:prstGeom>
        </p:spPr>
      </p:pic>
      <p:sp>
        <p:nvSpPr>
          <p:cNvPr id="7" name="正方形/長方形 6">
            <a:extLst>
              <a:ext uri="{FF2B5EF4-FFF2-40B4-BE49-F238E27FC236}">
                <a16:creationId xmlns:a16="http://schemas.microsoft.com/office/drawing/2014/main" id="{DAE80BCD-78D8-E065-CAA9-E353C26E2363}"/>
              </a:ext>
            </a:extLst>
          </p:cNvPr>
          <p:cNvSpPr/>
          <p:nvPr/>
        </p:nvSpPr>
        <p:spPr>
          <a:xfrm>
            <a:off x="4940982" y="4863119"/>
            <a:ext cx="2577418" cy="24367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22103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pic>
        <p:nvPicPr>
          <p:cNvPr id="2" name="図 1">
            <a:extLst>
              <a:ext uri="{FF2B5EF4-FFF2-40B4-BE49-F238E27FC236}">
                <a16:creationId xmlns:a16="http://schemas.microsoft.com/office/drawing/2014/main" id="{BEC10140-5418-824A-292F-60BA90EABC7E}"/>
              </a:ext>
            </a:extLst>
          </p:cNvPr>
          <p:cNvPicPr>
            <a:picLocks noChangeAspect="1"/>
          </p:cNvPicPr>
          <p:nvPr/>
        </p:nvPicPr>
        <p:blipFill>
          <a:blip r:embed="rId4"/>
          <a:stretch>
            <a:fillRect/>
          </a:stretch>
        </p:blipFill>
        <p:spPr>
          <a:xfrm>
            <a:off x="453572" y="1819695"/>
            <a:ext cx="9168673" cy="4445138"/>
          </a:xfrm>
          <a:prstGeom prst="rect">
            <a:avLst/>
          </a:prstGeom>
        </p:spPr>
      </p:pic>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ja-JP" altLang="en-US" sz="2000"/>
              <a:t>Measure the volume to ensure it matches the design drawings.</a:t>
            </a:r>
            <a:endParaRPr lang="en-US" altLang="ja-JP" sz="2000" dirty="0"/>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How to obtain earthwork volume to match the design drawings</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17" name="正方形/長方形 16">
            <a:extLst>
              <a:ext uri="{FF2B5EF4-FFF2-40B4-BE49-F238E27FC236}">
                <a16:creationId xmlns:a16="http://schemas.microsoft.com/office/drawing/2014/main" id="{78B8F90C-15F7-CF85-DEA9-0F5BB1B3BFCC}"/>
              </a:ext>
            </a:extLst>
          </p:cNvPr>
          <p:cNvSpPr/>
          <p:nvPr/>
        </p:nvSpPr>
        <p:spPr>
          <a:xfrm>
            <a:off x="6286984" y="4547670"/>
            <a:ext cx="1742561" cy="12319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6" name="正方形/長方形 5">
            <a:extLst>
              <a:ext uri="{FF2B5EF4-FFF2-40B4-BE49-F238E27FC236}">
                <a16:creationId xmlns:a16="http://schemas.microsoft.com/office/drawing/2014/main" id="{EEDDB650-BB3E-F0A3-B0AF-944AF7737FDD}"/>
              </a:ext>
            </a:extLst>
          </p:cNvPr>
          <p:cNvSpPr/>
          <p:nvPr/>
        </p:nvSpPr>
        <p:spPr>
          <a:xfrm>
            <a:off x="453571" y="3015394"/>
            <a:ext cx="1825413" cy="8194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7" name="テキスト ボックス 6">
            <a:extLst>
              <a:ext uri="{FF2B5EF4-FFF2-40B4-BE49-F238E27FC236}">
                <a16:creationId xmlns:a16="http://schemas.microsoft.com/office/drawing/2014/main" id="{FE6DC3A8-1555-3398-B684-4C6A797F7E12}"/>
              </a:ext>
            </a:extLst>
          </p:cNvPr>
          <p:cNvSpPr txBox="1"/>
          <p:nvPr/>
        </p:nvSpPr>
        <p:spPr>
          <a:xfrm>
            <a:off x="2995" y="447630"/>
            <a:ext cx="9903006" cy="584775"/>
          </a:xfrm>
          <a:prstGeom prst="rect">
            <a:avLst/>
          </a:prstGeom>
          <a:ln w="12700">
            <a:noFill/>
          </a:ln>
        </p:spPr>
        <p:txBody>
          <a:bodyPr wrap="square" rtlCol="0">
            <a:spAutoFit/>
          </a:bodyPr>
          <a:lstStyle/>
          <a:p>
            <a:r>
              <a:rPr kumimoji="1" lang="en-US" altLang="ja-JP" sz="1600" b="1" dirty="0">
                <a:latin typeface="Arial" pitchFamily="34" charset="0"/>
                <a:cs typeface="Arial" pitchFamily="34" charset="0"/>
              </a:rPr>
              <a:t>Display the 3D model and the current point cloud, then press the volume-difference calculation button to measure the amount of earth required to make it conform to the design 3D model.</a:t>
            </a:r>
          </a:p>
        </p:txBody>
      </p:sp>
    </p:spTree>
    <p:extLst>
      <p:ext uri="{BB962C8B-B14F-4D97-AF65-F5344CB8AC3E}">
        <p14:creationId xmlns:p14="http://schemas.microsoft.com/office/powerpoint/2010/main" val="2863347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pic>
        <p:nvPicPr>
          <p:cNvPr id="2" name="図 1">
            <a:extLst>
              <a:ext uri="{FF2B5EF4-FFF2-40B4-BE49-F238E27FC236}">
                <a16:creationId xmlns:a16="http://schemas.microsoft.com/office/drawing/2014/main" id="{8F92184B-4AF8-02C9-FB72-8FFBCB2908D8}"/>
              </a:ext>
            </a:extLst>
          </p:cNvPr>
          <p:cNvPicPr>
            <a:picLocks noChangeAspect="1"/>
          </p:cNvPicPr>
          <p:nvPr/>
        </p:nvPicPr>
        <p:blipFill>
          <a:blip r:embed="rId4"/>
          <a:stretch>
            <a:fillRect/>
          </a:stretch>
        </p:blipFill>
        <p:spPr>
          <a:xfrm>
            <a:off x="1649063" y="1623069"/>
            <a:ext cx="6607872" cy="4778420"/>
          </a:xfrm>
          <a:prstGeom prst="rect">
            <a:avLst/>
          </a:prstGeom>
        </p:spPr>
      </p:pic>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ja-JP" altLang="en-US" sz="2000"/>
              <a:t>Measure distance on the map</a:t>
            </a:r>
            <a:endParaRPr lang="en-US" altLang="ja-JP" sz="2000" dirty="0"/>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How to obtain distance measurements</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7" name="正方形/長方形 6">
            <a:extLst>
              <a:ext uri="{FF2B5EF4-FFF2-40B4-BE49-F238E27FC236}">
                <a16:creationId xmlns:a16="http://schemas.microsoft.com/office/drawing/2014/main" id="{D6FE2489-3CFB-E3B0-AA1A-339D465F333F}"/>
              </a:ext>
            </a:extLst>
          </p:cNvPr>
          <p:cNvSpPr/>
          <p:nvPr/>
        </p:nvSpPr>
        <p:spPr>
          <a:xfrm>
            <a:off x="5460579" y="5158012"/>
            <a:ext cx="2916825" cy="25211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8" name="テキスト ボックス 7">
            <a:extLst>
              <a:ext uri="{FF2B5EF4-FFF2-40B4-BE49-F238E27FC236}">
                <a16:creationId xmlns:a16="http://schemas.microsoft.com/office/drawing/2014/main" id="{7B85CB9A-26CE-56EE-2EEC-0C97E5F15A1B}"/>
              </a:ext>
            </a:extLst>
          </p:cNvPr>
          <p:cNvSpPr txBox="1"/>
          <p:nvPr/>
        </p:nvSpPr>
        <p:spPr>
          <a:xfrm>
            <a:off x="2995" y="447630"/>
            <a:ext cx="9903006" cy="707886"/>
          </a:xfrm>
          <a:prstGeom prst="rect">
            <a:avLst/>
          </a:prstGeom>
          <a:ln w="12700">
            <a:noFill/>
          </a:ln>
        </p:spPr>
        <p:txBody>
          <a:bodyPr wrap="square" rtlCol="0">
            <a:spAutoFit/>
          </a:bodyPr>
          <a:lstStyle/>
          <a:p>
            <a:r>
              <a:rPr kumimoji="1" lang="ja-JP" altLang="en-US" sz="2000" b="1">
                <a:latin typeface="Arial" pitchFamily="34" charset="0"/>
                <a:cs typeface="Arial" pitchFamily="34" charset="0"/>
              </a:rPr>
              <a:t>You can click on individual points or on points on the map to measure distances. Registered line segment data can be downloaded as DXF files.</a:t>
            </a:r>
            <a:endParaRPr kumimoji="1" lang="en-US" altLang="ja-JP" sz="2000" b="1" dirty="0">
              <a:latin typeface="Arial" pitchFamily="34" charset="0"/>
              <a:cs typeface="Arial" pitchFamily="34" charset="0"/>
            </a:endParaRPr>
          </a:p>
        </p:txBody>
      </p:sp>
    </p:spTree>
    <p:extLst>
      <p:ext uri="{BB962C8B-B14F-4D97-AF65-F5344CB8AC3E}">
        <p14:creationId xmlns:p14="http://schemas.microsoft.com/office/powerpoint/2010/main" val="34399832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956FC-8B1E-6D48-76BE-5B69999251FB}"/>
            </a:ext>
          </a:extLst>
        </p:cNvPr>
        <p:cNvGrpSpPr/>
        <p:nvPr/>
      </p:nvGrpSpPr>
      <p:grpSpPr>
        <a:xfrm>
          <a:off x="0" y="0"/>
          <a:ext cx="0" cy="0"/>
          <a:chOff x="0" y="0"/>
          <a:chExt cx="0" cy="0"/>
        </a:xfrm>
      </p:grpSpPr>
      <p:pic>
        <p:nvPicPr>
          <p:cNvPr id="4" name="図 3">
            <a:extLst>
              <a:ext uri="{FF2B5EF4-FFF2-40B4-BE49-F238E27FC236}">
                <a16:creationId xmlns:a16="http://schemas.microsoft.com/office/drawing/2014/main" id="{0F71F2B6-80FC-087D-9AD2-1C929F44C2DD}"/>
              </a:ext>
            </a:extLst>
          </p:cNvPr>
          <p:cNvPicPr>
            <a:picLocks noChangeAspect="1"/>
          </p:cNvPicPr>
          <p:nvPr/>
        </p:nvPicPr>
        <p:blipFill>
          <a:blip r:embed="rId4"/>
          <a:stretch>
            <a:fillRect/>
          </a:stretch>
        </p:blipFill>
        <p:spPr>
          <a:xfrm>
            <a:off x="1760485" y="1803195"/>
            <a:ext cx="6388293" cy="4446467"/>
          </a:xfrm>
          <a:prstGeom prst="rect">
            <a:avLst/>
          </a:prstGeom>
        </p:spPr>
      </p:pic>
      <p:sp>
        <p:nvSpPr>
          <p:cNvPr id="3" name="Content Placeholder 2">
            <a:extLst>
              <a:ext uri="{FF2B5EF4-FFF2-40B4-BE49-F238E27FC236}">
                <a16:creationId xmlns:a16="http://schemas.microsoft.com/office/drawing/2014/main" id="{72F38A28-B95D-2BAA-89B3-60D1C2EF6E98}"/>
              </a:ext>
            </a:extLst>
          </p:cNvPr>
          <p:cNvSpPr txBox="1">
            <a:spLocks/>
          </p:cNvSpPr>
          <p:nvPr/>
        </p:nvSpPr>
        <p:spPr>
          <a:xfrm>
            <a:off x="59327" y="1585613"/>
            <a:ext cx="9762308" cy="485333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4AC089AE-A1B5-16C1-CB49-71AE667078F3}"/>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4AC089AE-A1B5-16C1-CB49-71AE667078F3}"/>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EB06FF00-18DB-9EB1-32FB-AFB4E88DC156}"/>
              </a:ext>
            </a:extLst>
          </p:cNvPr>
          <p:cNvSpPr>
            <a:spLocks noGrp="1"/>
          </p:cNvSpPr>
          <p:nvPr>
            <p:ph type="body" sz="quarter" idx="12"/>
          </p:nvPr>
        </p:nvSpPr>
        <p:spPr/>
        <p:txBody>
          <a:bodyPr/>
          <a:lstStyle/>
          <a:p>
            <a:r>
              <a:rPr lang="ja-JP" altLang="en-US" sz="2000"/>
              <a:t>Measure area on the map</a:t>
            </a:r>
            <a:endParaRPr lang="en-US" altLang="ja-JP" sz="2000" dirty="0"/>
          </a:p>
        </p:txBody>
      </p:sp>
      <p:sp>
        <p:nvSpPr>
          <p:cNvPr id="5" name="Rectangle 3">
            <a:extLst>
              <a:ext uri="{FF2B5EF4-FFF2-40B4-BE49-F238E27FC236}">
                <a16:creationId xmlns:a16="http://schemas.microsoft.com/office/drawing/2014/main" id="{1DE8360C-F512-411B-4643-A425F1735F6E}"/>
              </a:ext>
            </a:extLst>
          </p:cNvPr>
          <p:cNvSpPr>
            <a:spLocks noChangeArrowheads="1"/>
          </p:cNvSpPr>
          <p:nvPr/>
        </p:nvSpPr>
        <p:spPr bwMode="auto">
          <a:xfrm>
            <a:off x="59327" y="1170039"/>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ja-JP" altLang="en-US" sz="2000" b="1" kern="0">
                <a:solidFill>
                  <a:srgbClr val="FFFFFF"/>
                </a:solidFill>
                <a:latin typeface="Arial" pitchFamily="34" charset="0"/>
                <a:cs typeface="Arial" pitchFamily="34" charset="0"/>
              </a:rPr>
              <a:t>How to obtain area measurements</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7" name="正方形/長方形 6">
            <a:extLst>
              <a:ext uri="{FF2B5EF4-FFF2-40B4-BE49-F238E27FC236}">
                <a16:creationId xmlns:a16="http://schemas.microsoft.com/office/drawing/2014/main" id="{3AFC533D-8463-AF5C-F345-2358754D07B6}"/>
              </a:ext>
            </a:extLst>
          </p:cNvPr>
          <p:cNvSpPr/>
          <p:nvPr/>
        </p:nvSpPr>
        <p:spPr>
          <a:xfrm>
            <a:off x="5584193" y="5291254"/>
            <a:ext cx="2564586" cy="22248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8" name="テキスト ボックス 7">
            <a:extLst>
              <a:ext uri="{FF2B5EF4-FFF2-40B4-BE49-F238E27FC236}">
                <a16:creationId xmlns:a16="http://schemas.microsoft.com/office/drawing/2014/main" id="{F15D68CC-3BAF-A9EC-901D-3A77FBC87859}"/>
              </a:ext>
            </a:extLst>
          </p:cNvPr>
          <p:cNvSpPr txBox="1"/>
          <p:nvPr/>
        </p:nvSpPr>
        <p:spPr>
          <a:xfrm>
            <a:off x="2995" y="447630"/>
            <a:ext cx="9903006" cy="400110"/>
          </a:xfrm>
          <a:prstGeom prst="rect">
            <a:avLst/>
          </a:prstGeom>
          <a:ln w="12700">
            <a:noFill/>
          </a:ln>
        </p:spPr>
        <p:txBody>
          <a:bodyPr wrap="square" rtlCol="0">
            <a:spAutoFit/>
          </a:bodyPr>
          <a:lstStyle/>
          <a:p>
            <a:r>
              <a:rPr kumimoji="1" lang="ja-JP" altLang="en-US" sz="2000" b="1">
                <a:latin typeface="Arial" pitchFamily="34" charset="0"/>
                <a:cs typeface="Arial" pitchFamily="34" charset="0"/>
              </a:rPr>
              <a:t>Click to enclose a single point or points on the map to measure the area of the enclosed region.</a:t>
            </a:r>
            <a:endParaRPr kumimoji="1" lang="en-US" altLang="ja-JP" sz="2000" b="1" dirty="0">
              <a:latin typeface="Arial" pitchFamily="34" charset="0"/>
              <a:cs typeface="Arial" pitchFamily="34" charset="0"/>
            </a:endParaRPr>
          </a:p>
        </p:txBody>
      </p:sp>
    </p:spTree>
    <p:extLst>
      <p:ext uri="{BB962C8B-B14F-4D97-AF65-F5344CB8AC3E}">
        <p14:creationId xmlns:p14="http://schemas.microsoft.com/office/powerpoint/2010/main" val="35976773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7&quot;/&gt;&lt;/object&gt;&lt;object type=&quot;3&quot; unique_id=&quot;10005&quot;&gt;&lt;property id=&quot;20148&quot; value=&quot;5&quot;/&gt;&lt;property id=&quot;20300&quot; value=&quot;Slide 3 - &amp;quot;Main contents slide (highlight chapter in use with fill and bold font and remove guide borders when completed)&amp;quot;&quot;/&gt;&lt;property id=&quot;20307&quot; value=&quot;256&quot;/&gt;&lt;/object&gt;&lt;object type=&quot;3&quot; unique_id=&quot;10006&quot;&gt;&lt;property id=&quot;20148&quot; value=&quot;5&quot;/&gt;&lt;property id=&quot;20300&quot; value=&quot;Slide 4 - &amp;quot;Sub-level contents slide if required (remove guide borders when completed)&amp;quot;&quot;/&gt;&lt;property id=&quot;20307&quot; value=&quot;258&quot;/&gt;&lt;/object&gt;&lt;object type=&quot;3&quot; unique_id=&quot;10007&quot;&gt;&lt;property id=&quot;20148&quot; value=&quot;5&quot;/&gt;&lt;property id=&quot;20300&quot; value=&quot;Slide 5 - &amp;quot;Example blank slide&amp;quot;&quot;/&gt;&lt;property id=&quot;20307&quot; value=&quot;260&quot;/&gt;&lt;/object&gt;&lt;object type=&quot;3&quot; unique_id=&quot;10008&quot;&gt;&lt;property id=&quot;20148&quot; value=&quot;5&quot;/&gt;&lt;property id=&quot;20300&quot; value=&quot;Slide 6 - &amp;quot;Example single monopoly card&amp;quot;&quot;/&gt;&lt;property id=&quot;20307&quot; value=&quot;259&quot;/&gt;&lt;/object&gt;&lt;object type=&quot;3&quot; unique_id=&quot;10009&quot;&gt;&lt;property id=&quot;20148&quot; value=&quot;5&quot;/&gt;&lt;property id=&quot;20300&quot; value=&quot;Slide 7 - &amp;quot;Example monopoly cards&amp;quot;&quot;/&gt;&lt;property id=&quot;20307&quot; value=&quot;261&quot;/&gt;&lt;/object&gt;&lt;object type=&quot;3&quot; unique_id=&quot;10010&quot;&gt;&lt;property id=&quot;20148&quot; value=&quot;5&quot;/&gt;&lt;property id=&quot;20300&quot; value=&quot;Slide 8 - &amp;quot;Example two column page&amp;quot;&quot;/&gt;&lt;property id=&quot;20307&quot; value=&quot;262&quot;/&gt;&lt;/object&gt;&lt;object type=&quot;3&quot; unique_id=&quot;10011&quot;&gt;&lt;property id=&quot;20148&quot; value=&quot;5&quot;/&gt;&lt;property id=&quot;20300&quot; value=&quot;Slide 9 - &amp;quot;Example table&amp;quot;&quot;/&gt;&lt;property id=&quot;20307&quot; value=&quot;263&quot;/&gt;&lt;/object&gt;&lt;object type=&quot;3&quot; unique_id=&quot;10012&quot;&gt;&lt;property id=&quot;20148&quot; value=&quot;5&quot;/&gt;&lt;property id=&quot;20300&quot; value=&quot;Slide 10 - &amp;quot;Notice&amp;quot;&quot;/&gt;&lt;property id=&quot;20307&quot; value=&quot;272&quot;/&gt;&lt;/object&gt;&lt;object type=&quot;3&quot; unique_id=&quot;10013&quot;&gt;&lt;property id=&quot;20148&quot; value=&quot;5&quot;/&gt;&lt;property id=&quot;20300&quot; value=&quot;Slide 11 - &amp;quot;Summary introduction&amp;quot;&quot;/&gt;&lt;property id=&quot;20307&quot; value=&quot;264&quot;/&gt;&lt;/object&gt;&lt;object type=&quot;3&quot; unique_id=&quot;10014&quot;&gt;&lt;property id=&quot;20148&quot; value=&quot;5&quot;/&gt;&lt;property id=&quot;20300&quot; value=&quot;Slide 12 - &amp;quot;Small copy of introduction graphic in top right hand corner &amp;quot;&quot;/&gt;&lt;property id=&quot;20307&quot; value=&quot;265&quot;/&gt;&lt;/object&gt;&lt;object type=&quot;3&quot; unique_id=&quot;10015&quot;&gt;&lt;property id=&quot;20148&quot; value=&quot;5&quot;/&gt;&lt;property id=&quot;20300&quot; value=&quot;Slide 13 - &amp;quot;Second section etc&amp;quot;&quot;/&gt;&lt;property id=&quot;20307&quot; value=&quot;266&quot;/&gt;&lt;/object&gt;&lt;object type=&quot;3&quot; unique_id=&quot;10016&quot;&gt;&lt;property id=&quot;20148&quot; value=&quot;5&quot;/&gt;&lt;property id=&quot;20300&quot; value=&quot;Slide 14 - &amp;quot;Brief explanation of client’s situation&amp;quot;&quot;/&gt;&lt;property id=&quot;20307&quot; value=&quot;267&quot;/&gt;&lt;/object&gt;&lt;object type=&quot;3&quot; unique_id=&quot;10017&quot;&gt;&lt;property id=&quot;20148&quot; value=&quot;5&quot;/&gt;&lt;property id=&quot;20300&quot; value=&quot;Slide 17 - &amp;quot;If you decide to use one biography per slide, you may wish expand on relevant experience and qualifications, furth&quot;/&gt;&lt;property id=&quot;20307&quot; value=&quot;268&quot;/&gt;&lt;/object&gt;&lt;object type=&quot;3&quot; unique_id=&quot;10018&quot;&gt;&lt;property id=&quot;20148&quot; value=&quot;5&quot;/&gt;&lt;property id=&quot;20300&quot; value=&quot;Slide 18&quot;/&gt;&lt;property id=&quot;20307&quot; value=&quot;269&quot;/&gt;&lt;/object&gt;&lt;object type=&quot;3&quot; unique_id=&quot;10019&quot;&gt;&lt;property id=&quot;20148&quot; value=&quot;5&quot;/&gt;&lt;property id=&quot;20300&quot; value=&quot;Slide 19&quot;/&gt;&lt;property id=&quot;20307&quot; value=&quot;270&quot;/&gt;&lt;/object&gt;&lt;object type=&quot;3&quot; unique_id=&quot;10020&quot;&gt;&lt;property id=&quot;20148&quot; value=&quot;5&quot;/&gt;&lt;property id=&quot;20300&quot; value=&quot;Slide 15 - &amp;quot;Qualifications will use the standard format detailed below, the number of quals per slide can be varied depending &quot;/&gt;&lt;property id=&quot;20307&quot; value=&quot;273&quot;/&gt;&lt;/object&gt;&lt;object type=&quot;3&quot; unique_id=&quot;10021&quot;&gt;&lt;property id=&quot;20148&quot; value=&quot;5&quot;/&gt;&lt;property id=&quot;20300&quot; value=&quot;Slide 16 - &amp;quot;The example below shows how the slide will look if two quals are combined on a slide, the text size has been reduc&quot;/&gt;&lt;property id=&quot;20307&quot; value=&quot;274&quot;/&gt;&lt;/object&gt;&lt;object type=&quot;3&quot; unique_id=&quot;10062&quot;&gt;&lt;property id=&quot;20148&quot; value=&quot;5&quot;/&gt;&lt;property id=&quot;20300&quot; value=&quot;Slide 2&quot;/&gt;&lt;property id=&quot;20307&quot; value=&quot;276&quot;/&gt;&lt;/object&gt;&lt;object type=&quot;3&quot; unique_id=&quot;10063&quot;&gt;&lt;property id=&quot;20148&quot; value=&quot;5&quot;/&gt;&lt;property id=&quot;20300&quot; value=&quot;Slide 20&quot;/&gt;&lt;property id=&quot;20307&quot; value=&quot;275&quot;/&gt;&lt;/object&gt;&lt;/object&gt;&lt;/object&gt;&lt;/database&gt;"/>
  <p:tag name="THINKCELLUNDODONOTDELETE" val="20"/>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7PtKOPU6EeOWltNt1p5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Lefixea_Slidemaster_color">
      <a:dk1>
        <a:srgbClr val="033273"/>
      </a:dk1>
      <a:lt1>
        <a:srgbClr val="FFFFFF"/>
      </a:lt1>
      <a:dk2>
        <a:srgbClr val="033273"/>
      </a:dk2>
      <a:lt2>
        <a:srgbClr val="808080"/>
      </a:lt2>
      <a:accent1>
        <a:srgbClr val="033273"/>
      </a:accent1>
      <a:accent2>
        <a:srgbClr val="C0CCDC"/>
      </a:accent2>
      <a:accent3>
        <a:srgbClr val="BFBFBF"/>
      </a:accent3>
      <a:accent4>
        <a:srgbClr val="8199B9"/>
      </a:accent4>
      <a:accent5>
        <a:srgbClr val="FFE280"/>
      </a:accent5>
      <a:accent6>
        <a:srgbClr val="FFC500"/>
      </a:accent6>
      <a:hlink>
        <a:srgbClr val="8199B9"/>
      </a:hlink>
      <a:folHlink>
        <a:srgbClr val="416596"/>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969696"/>
          </a:solid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2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12700">
          <a:noFill/>
        </a:ln>
      </a:spPr>
      <a:bodyPr wrap="square" rtlCol="0">
        <a:spAutoFit/>
      </a:bodyPr>
      <a:lstStyle>
        <a:defPPr>
          <a:defRPr sz="1400" dirty="0" err="1" smtClean="0">
            <a:latin typeface="Arial" pitchFamily="34" charset="0"/>
            <a:cs typeface="Arial" pitchFamily="34" charset="0"/>
          </a:defRPr>
        </a:defPPr>
      </a:lstStyle>
    </a:txDef>
  </a:objectDefaults>
  <a:extraClrSchemeLst/>
  <a:custClrLst>
    <a:custClr name="Custom Color 1">
      <a:srgbClr val="3E7898"/>
    </a:custClr>
    <a:custClr name="Custom Color 2">
      <a:srgbClr val="000000"/>
    </a:custClr>
    <a:custClr name="Custom Color 3">
      <a:srgbClr val="4D4D4D"/>
    </a:custClr>
    <a:custClr name="Custom Color 4">
      <a:srgbClr val="969696"/>
    </a:custClr>
    <a:custClr name="Custom Color 5">
      <a:srgbClr val="EAEAEA"/>
    </a:custClr>
    <a:custClr name="Custom Color 6">
      <a:srgbClr val="6EB66E"/>
    </a:custClr>
    <a:custClr name="Custom Color 7">
      <a:srgbClr val="CC0000"/>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efixea_Slidemaster_color">
    <a:dk1>
      <a:srgbClr val="033273"/>
    </a:dk1>
    <a:lt1>
      <a:srgbClr val="FFFFFF"/>
    </a:lt1>
    <a:dk2>
      <a:srgbClr val="033273"/>
    </a:dk2>
    <a:lt2>
      <a:srgbClr val="808080"/>
    </a:lt2>
    <a:accent1>
      <a:srgbClr val="033273"/>
    </a:accent1>
    <a:accent2>
      <a:srgbClr val="C0CCDC"/>
    </a:accent2>
    <a:accent3>
      <a:srgbClr val="BFBFBF"/>
    </a:accent3>
    <a:accent4>
      <a:srgbClr val="8199B9"/>
    </a:accent4>
    <a:accent5>
      <a:srgbClr val="FFE280"/>
    </a:accent5>
    <a:accent6>
      <a:srgbClr val="FFC500"/>
    </a:accent6>
    <a:hlink>
      <a:srgbClr val="8199B9"/>
    </a:hlink>
    <a:folHlink>
      <a:srgbClr val="41659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302B644A1E68DC42A590C3945CED365A" ma:contentTypeVersion="19" ma:contentTypeDescription="新しいドキュメントを作成します。" ma:contentTypeScope="" ma:versionID="9335ea08eef914301fcd918ffb41c745">
  <xsd:schema xmlns:xsd="http://www.w3.org/2001/XMLSchema" xmlns:xs="http://www.w3.org/2001/XMLSchema" xmlns:p="http://schemas.microsoft.com/office/2006/metadata/properties" xmlns:ns2="2e755cc5-ae56-4e79-a283-74a644d3c476" xmlns:ns3="3be659c1-1e65-4eae-85b0-0af5fc8e561f" targetNamespace="http://schemas.microsoft.com/office/2006/metadata/properties" ma:root="true" ma:fieldsID="b27c1f888605b705081e3bb8972b949e" ns2:_="" ns3:_="">
    <xsd:import namespace="2e755cc5-ae56-4e79-a283-74a644d3c476"/>
    <xsd:import namespace="3be659c1-1e65-4eae-85b0-0af5fc8e561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55cc5-ae56-4e79-a283-74a644d3c4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画像タグ" ma:readOnly="false" ma:fieldId="{5cf76f15-5ced-4ddc-b409-7134ff3c332f}" ma:taxonomyMulti="true" ma:sspId="1665e6cc-e37a-4638-91fc-33584722f504"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be659c1-1e65-4eae-85b0-0af5fc8e561f"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59de0a3f-33c1-48e3-a8ef-72e01b701e1a}" ma:internalName="TaxCatchAll" ma:showField="CatchAllData" ma:web="3be659c1-1e65-4eae-85b0-0af5fc8e561f">
      <xsd:complexType>
        <xsd:complexContent>
          <xsd:extension base="dms:MultiChoiceLookup">
            <xsd:sequence>
              <xsd:element name="Value" type="dms:Lookup" maxOccurs="unbounded" minOccurs="0" nillable="true"/>
            </xsd:sequence>
          </xsd:extension>
        </xsd:complexContent>
      </xsd:complexType>
    </xsd:element>
    <xsd:element name="SharedWithUsers" ma:index="24"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e755cc5-ae56-4e79-a283-74a644d3c476">
      <Terms xmlns="http://schemas.microsoft.com/office/infopath/2007/PartnerControls"/>
    </lcf76f155ced4ddcb4097134ff3c332f>
    <TaxCatchAll xmlns="3be659c1-1e65-4eae-85b0-0af5fc8e561f" xsi:nil="true"/>
  </documentManagement>
</p:properties>
</file>

<file path=customXml/itemProps1.xml><?xml version="1.0" encoding="utf-8"?>
<ds:datastoreItem xmlns:ds="http://schemas.openxmlformats.org/officeDocument/2006/customXml" ds:itemID="{567CCE53-F78D-4413-93A3-A63F00E88DFA}">
  <ds:schemaRefs>
    <ds:schemaRef ds:uri="http://schemas.microsoft.com/sharepoint/v3/contenttype/forms"/>
  </ds:schemaRefs>
</ds:datastoreItem>
</file>

<file path=customXml/itemProps2.xml><?xml version="1.0" encoding="utf-8"?>
<ds:datastoreItem xmlns:ds="http://schemas.openxmlformats.org/officeDocument/2006/customXml" ds:itemID="{7031A540-C0F5-4FDA-8B59-2535245DB4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755cc5-ae56-4e79-a283-74a644d3c476"/>
    <ds:schemaRef ds:uri="3be659c1-1e65-4eae-85b0-0af5fc8e56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96C0B64-CC77-4295-A054-9AC2C677586E}">
  <ds:schemaRefs>
    <ds:schemaRef ds:uri="3be659c1-1e65-4eae-85b0-0af5fc8e561f"/>
    <ds:schemaRef ds:uri="http://schemas.microsoft.com/office/2006/documentManagement/types"/>
    <ds:schemaRef ds:uri="http://schemas.openxmlformats.org/package/2006/metadata/core-properties"/>
    <ds:schemaRef ds:uri="http://purl.org/dc/terms/"/>
    <ds:schemaRef ds:uri="http://purl.org/dc/dcmitype/"/>
    <ds:schemaRef ds:uri="http://purl.org/dc/elements/1.1/"/>
    <ds:schemaRef ds:uri="http://www.w3.org/XML/1998/namespace"/>
    <ds:schemaRef ds:uri="http://schemas.microsoft.com/office/infopath/2007/PartnerControls"/>
    <ds:schemaRef ds:uri="2e755cc5-ae56-4e79-a283-74a644d3c476"/>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157</TotalTime>
  <Words>849</Words>
  <Application>Microsoft Office PowerPoint</Application>
  <PresentationFormat>A4 Paper (210x297 mm)</PresentationFormat>
  <Paragraphs>242</Paragraphs>
  <Slides>13</Slides>
  <Notes>12</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Blank</vt:lpstr>
      <vt:lpstr>Measurement of area, volume, et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rthur D. Litt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Intern01</dc:creator>
  <cp:lastModifiedBy>Matsubara Tomoaki</cp:lastModifiedBy>
  <cp:revision>234</cp:revision>
  <dcterms:created xsi:type="dcterms:W3CDTF">2014-10-07T10:58:16Z</dcterms:created>
  <dcterms:modified xsi:type="dcterms:W3CDTF">2026-04-09T00:4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72800</vt:r8>
  </property>
  <property fmtid="{D5CDD505-2E9C-101B-9397-08002B2CF9AE}" pid="3" name="xd_Signature">
    <vt:bool>false</vt:bool>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MediaServiceImageTags">
    <vt:lpwstr/>
  </property>
  <property fmtid="{D5CDD505-2E9C-101B-9397-08002B2CF9AE}" pid="8" name="ContentTypeId">
    <vt:lpwstr>0x010100302B644A1E68DC42A590C3945CED365A</vt:lpwstr>
  </property>
</Properties>
</file>